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5" r:id="rId4"/>
    <p:sldMasterId id="2147483858" r:id="rId5"/>
    <p:sldMasterId id="2147483887" r:id="rId6"/>
    <p:sldMasterId id="2147483928" r:id="rId7"/>
    <p:sldMasterId id="2147484141" r:id="rId8"/>
  </p:sldMasterIdLst>
  <p:notesMasterIdLst>
    <p:notesMasterId r:id="rId31"/>
  </p:notesMasterIdLst>
  <p:handoutMasterIdLst>
    <p:handoutMasterId r:id="rId32"/>
  </p:handoutMasterIdLst>
  <p:sldIdLst>
    <p:sldId id="2147482129" r:id="rId9"/>
    <p:sldId id="2147482156" r:id="rId10"/>
    <p:sldId id="2146847936" r:id="rId11"/>
    <p:sldId id="2146847938" r:id="rId12"/>
    <p:sldId id="2146847517" r:id="rId13"/>
    <p:sldId id="2147479462" r:id="rId14"/>
    <p:sldId id="2147479473" r:id="rId15"/>
    <p:sldId id="2147479478" r:id="rId16"/>
    <p:sldId id="2147482149" r:id="rId17"/>
    <p:sldId id="2147479427" r:id="rId18"/>
    <p:sldId id="2141411687" r:id="rId19"/>
    <p:sldId id="2146847862" r:id="rId20"/>
    <p:sldId id="2146847861" r:id="rId21"/>
    <p:sldId id="2147479418" r:id="rId22"/>
    <p:sldId id="2147479475" r:id="rId23"/>
    <p:sldId id="2147479474" r:id="rId24"/>
    <p:sldId id="2147482154" r:id="rId25"/>
    <p:sldId id="2147479436" r:id="rId26"/>
    <p:sldId id="2147482138" r:id="rId27"/>
    <p:sldId id="2147482140" r:id="rId28"/>
    <p:sldId id="2147482151" r:id="rId29"/>
    <p:sldId id="2147482145" r:id="rId30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77E347E-B4A8-4801-BD80-B18AB32B7172}">
          <p14:sldIdLst>
            <p14:sldId id="2147482129"/>
            <p14:sldId id="2147482156"/>
            <p14:sldId id="2146847936"/>
            <p14:sldId id="2146847938"/>
            <p14:sldId id="2146847517"/>
            <p14:sldId id="2147479462"/>
            <p14:sldId id="2147479473"/>
            <p14:sldId id="2147479478"/>
            <p14:sldId id="2147482149"/>
            <p14:sldId id="2147479427"/>
            <p14:sldId id="2141411687"/>
            <p14:sldId id="2146847862"/>
            <p14:sldId id="2146847861"/>
            <p14:sldId id="2147479418"/>
            <p14:sldId id="2147479475"/>
            <p14:sldId id="2147479474"/>
            <p14:sldId id="2147482154"/>
            <p14:sldId id="2147479436"/>
            <p14:sldId id="2147482138"/>
            <p14:sldId id="2147482140"/>
            <p14:sldId id="2147482151"/>
            <p14:sldId id="214748214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96C0A406-01EB-DAAF-650F-1836017E3CCE}" name="Jun Xu" initials="" userId="S::jxu02@gilead.com::16503f38-d1f6-4183-be87-545c60b6292a" providerId="AD"/>
  <p188:author id="{12EEC50E-2653-E0E9-900A-808A8E1053C9}" name="Christine Bottema" initials="CB" userId="S::christine.bottema@gilead.com::3c1a94e8-c758-4efd-9396-ae5d300e8796" providerId="AD"/>
  <p188:author id="{8974B00F-3060-2273-B730-1DE3963AA8FE}" name="Patricia Johnson (Contractor)" initials="PJ(" userId="S::Patricia.Johnson2@gilead.com::a856605c-6600-4917-b464-299a935e7078" providerId="AD"/>
  <p188:author id="{E24DE216-D54A-0213-CE77-5A7F9B72994A}" name="Julie Peloquin" initials="JP" userId="S::julie.peloquin@gilead.com::5c74c883-0e1a-441f-9270-90f97de9a2e7" providerId="AD"/>
  <p188:author id="{FD1E9F1E-D738-A1DE-1B0E-2CCCCE8C1537}" name="Shahla Bolbolan" initials="SB" userId="S::shahla.bolbolan@gilead.com::4e5faef4-051b-4adc-b291-0d435384080a" providerId="AD"/>
  <p188:author id="{D9E50240-1276-540F-BEAE-46FF44188D88}" name="Jason Melehani" initials="JM" userId="S::Jason.Melehani@gilead.com::93603e9a-d746-4d7c-89da-7c5ef8b091f7" providerId="AD"/>
  <p188:author id="{EDFAF141-A392-14BA-2800-59E26634A91E}" name="Henry Hulter (Contractor)" initials="H(" userId="S::henry.hulter@gilead.com::61776daa-1f15-439c-abbe-da88991fe9d1" providerId="AD"/>
  <p188:author id="{D74EC644-DC12-AFB6-A7F4-0D8825A8333D}" name="Supriya Kulkarni" initials="SK" userId="S::skulkarni02@gilead.com::c806c57f-2d8a-4ab4-a5ad-205d7c77d942" providerId="AD"/>
  <p188:author id="{BDD4D653-B6BE-CF51-5DF1-25196AB7AEC8}" name="David Lin (Med Chem)" initials="DL(C" userId="S::dlin02@gilead.com::9c1515d3-da41-4482-ae1d-07f8730918c9" providerId="AD"/>
  <p188:author id="{5C718A6C-046D-5CB6-9A95-E5C418ECDE37}" name="Erika Fernandez" initials="EF" userId="S::Erika.Fernandez4@gilead.com::134de8be-6230-4715-a93e-43480a5936ee" providerId="AD"/>
  <p188:author id="{6ACEEE73-E90B-C789-AF4B-157F33BA735B}" name="Xiaomin Lu" initials="XL" userId="S::Xiaomin.Lu@gilead.com::42419631-bd19-4e2d-8d0e-2a49042d0d37" providerId="AD"/>
  <p188:author id="{596B5E76-D044-5E30-8419-ED6467454DB9}" name="Lisa Boyette" initials="LB" userId="S::Lisa.Boyette@gilead.com::24cc2e01-2130-4f78-ae8d-8253b197adea" providerId="AD"/>
  <p188:author id="{FD3F9279-794A-2CDC-8437-B5D6D7949789}" name="Lisa Boyette" initials="LB" userId="S::lisa.boyette@gilead.com::24cc2e01-2130-4f78-ae8d-8253b197adea" providerId="AD"/>
  <p188:author id="{69A2E77A-3352-97FC-E00A-AEF430EAE528}" name="Rick McGirt" initials="RM" userId="S::rick.mcgirt@gilead.com::084dd1c1-4729-48d2-b350-e5921353a72c" providerId="AD"/>
  <p188:author id="{7BE75E7D-AEA2-C310-ACBE-F9CE65E1E654}" name="Elijah Weber" initials="EW" userId="S::eweber@gilead.com::3845fdcd-7f4a-4ae0-9bbf-dad4a5b939df" providerId="AD"/>
  <p188:author id="{368FE280-FCB1-142D-3882-31369A16FB26}" name="Michelle Nguyen  (Business Conduct)" initials="" userId="S::michelle.nguyen9@gilead.com::7dbbfac1-0b80-4f11-b32c-22723485b9b9" providerId="AD"/>
  <p188:author id="{DA578B8D-688A-94D6-6FE8-56A5ACE37751}" name="Andrew Billin" initials="AB" userId="S::Andrew.Billin@gilead.com::bb80ba1e-8d55-497c-975f-19bdeb1b6669" providerId="AD"/>
  <p188:author id="{CDAE4B9E-4D9A-6BB4-BE35-1D3694FC7CED}" name="Xiaomin Lu" initials="XL" userId="S::xiaomin.lu@gilead.com::42419631-bd19-4e2d-8d0e-2a49042d0d37" providerId="AD"/>
  <p188:author id="{A6308AA0-492E-6428-CE75-B2CBC3669245}" name="Caroline Tonussi" initials="CT" userId="S::caroline.tonussi@gilead.com::39d8f1d8-339f-4626-bb9d-08415e142e0d" providerId="AD"/>
  <p188:author id="{7241ACA8-A22D-559D-B991-2493E8C67F73}" name="JaeB Kim" initials="JK" userId="S::jaeb.kim31@gilead.com::4d3b572d-d26a-4ed7-92e4-3ecc7b648986" providerId="AD"/>
  <p188:author id="{62C479BA-D7D3-3C59-BF31-B875107EBACE}" name="Andrew Billin" initials="AB" userId="S::andrew.billin@gilead.com::bb80ba1e-8d55-497c-975f-19bdeb1b6669" providerId="AD"/>
  <p188:author id="{30E3B5C4-ABF1-B7EE-88A4-F5FFF8E289DB}" name="Jason Melehani" initials="JM" userId="S::jason.melehani@gilead.com::93603e9a-d746-4d7c-89da-7c5ef8b091f7" providerId="AD"/>
  <p188:author id="{A3F084C5-10D7-A8D6-6159-3F65F2A30B08}" name="Rick McGirt" initials="" userId="S::Rick.McGirt@gilead.com::084dd1c1-4729-48d2-b350-e5921353a72c" providerId="AD"/>
  <p188:author id="{C7996ACC-7532-BC5E-6DDF-F76E70140F04}" name="Aansh Jarmarwala" initials="AJ" userId="S::aansh.jarmarwala@gilead.com::d1ecf981-ff73-4c49-9aea-3992e9fcc385" providerId="AD"/>
  <p188:author id="{9FECF9CD-FB03-6AFB-4646-B5002C571613}" name="Sharlene Lim" initials="SL" userId="S::sharlene.lim3@gilead.com::e1fac09f-3a86-48e1-86dc-93b1522cde2d" providerId="AD"/>
  <p188:author id="{57EB22E0-F41B-D117-A769-A2924E652891}" name="Caroline Burk (Contractor)" initials="C(" userId="S::caroline.burk@gilead.com::20006c89-9c40-4017-8d9b-277f0f6c6e98" providerId="AD"/>
  <p188:author id="{0FA57FF0-F5B4-44BC-6F90-160FC4BD56AE}" name="Celeste Hsieh" initials="CH" userId="S::celeste.hsieh@gilead.com::3c23dc7f-1c43-4092-97b9-786e61784316" providerId="AD"/>
  <p188:author id="{DCC8A2F7-3E90-15DE-A012-EA18248830E8}" name="Bill Flitter" initials="BF" userId="S::Bill.Flitter@gilead.com::564248b7-87dc-4620-b8e3-b3f2e171013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ca Forsyth" initials="EF" lastIdx="2" clrIdx="0">
    <p:extLst>
      <p:ext uri="{19B8F6BF-5375-455C-9EA6-DF929625EA0E}">
        <p15:presenceInfo xmlns:p15="http://schemas.microsoft.com/office/powerpoint/2012/main" userId="S::erica.forsyth@gilead.com::b9a171fb-066d-4117-9a52-5cd4e79e9a2a" providerId="AD"/>
      </p:ext>
    </p:extLst>
  </p:cmAuthor>
  <p:cmAuthor id="2" name="Michael Watkins" initials="MW" lastIdx="1" clrIdx="1">
    <p:extLst>
      <p:ext uri="{19B8F6BF-5375-455C-9EA6-DF929625EA0E}">
        <p15:presenceInfo xmlns:p15="http://schemas.microsoft.com/office/powerpoint/2012/main" userId="S::michael.watkins@gilead.com::99abfd93-6bd6-420c-be5e-aad26f5ed1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A8"/>
    <a:srgbClr val="00C7F0"/>
    <a:srgbClr val="00B1F1"/>
    <a:srgbClr val="FD6300"/>
    <a:srgbClr val="FF3300"/>
    <a:srgbClr val="D9DDE4"/>
    <a:srgbClr val="3A6C8A"/>
    <a:srgbClr val="203661"/>
    <a:srgbClr val="C50F3C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C5CB0F-89DD-48BB-810F-28A3D088C2F1}" vWet="2" dt="2024-05-23T15:18:42.850"/>
    <p1510:client id="{78A45D93-1111-4DB5-97F1-8A4CF417E19A}" v="110" dt="2024-05-22T21:19:25.008"/>
    <p1510:client id="{ED9A2370-4579-466F-8639-5A398BB16289}" v="141" dt="2024-05-23T15:19:46.2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commentAuthors" Target="commentAuthors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n Xu" userId="S::jxu02@gilead.com::16503f38-d1f6-4183-be87-545c60b6292a" providerId="AD" clId="Web-{035467B1-B798-132A-C401-A602401270D0}"/>
    <pc:docChg chg="modSld">
      <pc:chgData name="Jun Xu" userId="S::jxu02@gilead.com::16503f38-d1f6-4183-be87-545c60b6292a" providerId="AD" clId="Web-{035467B1-B798-132A-C401-A602401270D0}" dt="2024-02-28T18:44:07.235" v="2"/>
      <pc:docMkLst>
        <pc:docMk/>
      </pc:docMkLst>
      <pc:sldChg chg="modSp modCm">
        <pc:chgData name="Jun Xu" userId="S::jxu02@gilead.com::16503f38-d1f6-4183-be87-545c60b6292a" providerId="AD" clId="Web-{035467B1-B798-132A-C401-A602401270D0}" dt="2024-02-28T18:44:07.235" v="2"/>
        <pc:sldMkLst>
          <pc:docMk/>
          <pc:sldMk cId="1588382006" sldId="2147479470"/>
        </pc:sldMkLst>
        <pc:graphicFrameChg chg="mod modGraphic">
          <ac:chgData name="Jun Xu" userId="S::jxu02@gilead.com::16503f38-d1f6-4183-be87-545c60b6292a" providerId="AD" clId="Web-{035467B1-B798-132A-C401-A602401270D0}" dt="2024-02-28T18:44:07.235" v="2"/>
          <ac:graphicFrameMkLst>
            <pc:docMk/>
            <pc:sldMk cId="1588382006" sldId="2147479470"/>
            <ac:graphicFrameMk id="3" creationId="{1BB599FD-6071-5C0B-0CCF-0A8634E74972}"/>
          </ac:graphicFrameMkLst>
        </pc:graphicFrameChg>
      </pc:sldChg>
    </pc:docChg>
  </pc:docChgLst>
  <pc:docChgLst>
    <pc:chgData name="Jun Xu" userId="16503f38-d1f6-4183-be87-545c60b6292a" providerId="ADAL" clId="{941C210D-6EAA-6042-8B54-F47DFE3611D9}"/>
    <pc:docChg chg="undo custSel addSld modSld modSection">
      <pc:chgData name="Jun Xu" userId="16503f38-d1f6-4183-be87-545c60b6292a" providerId="ADAL" clId="{941C210D-6EAA-6042-8B54-F47DFE3611D9}" dt="2024-03-19T20:53:05.449" v="1085" actId="20577"/>
      <pc:docMkLst>
        <pc:docMk/>
      </pc:docMkLst>
      <pc:sldChg chg="modSp add mod">
        <pc:chgData name="Jun Xu" userId="16503f38-d1f6-4183-be87-545c60b6292a" providerId="ADAL" clId="{941C210D-6EAA-6042-8B54-F47DFE3611D9}" dt="2024-03-19T20:52:59.050" v="1084" actId="20577"/>
        <pc:sldMkLst>
          <pc:docMk/>
          <pc:sldMk cId="3190076938" sldId="2147472670"/>
        </pc:sldMkLst>
        <pc:spChg chg="mod">
          <ac:chgData name="Jun Xu" userId="16503f38-d1f6-4183-be87-545c60b6292a" providerId="ADAL" clId="{941C210D-6EAA-6042-8B54-F47DFE3611D9}" dt="2024-03-19T20:52:59.050" v="1084" actId="20577"/>
          <ac:spMkLst>
            <pc:docMk/>
            <pc:sldMk cId="3190076938" sldId="2147472670"/>
            <ac:spMk id="4" creationId="{3C82F452-0863-3B4E-85D1-65B2DFF1618C}"/>
          </ac:spMkLst>
        </pc:spChg>
      </pc:sldChg>
      <pc:sldChg chg="modSp add mod">
        <pc:chgData name="Jun Xu" userId="16503f38-d1f6-4183-be87-545c60b6292a" providerId="ADAL" clId="{941C210D-6EAA-6042-8B54-F47DFE3611D9}" dt="2024-03-19T20:50:27.258" v="768" actId="20577"/>
        <pc:sldMkLst>
          <pc:docMk/>
          <pc:sldMk cId="3310299437" sldId="2147472677"/>
        </pc:sldMkLst>
        <pc:graphicFrameChg chg="modGraphic">
          <ac:chgData name="Jun Xu" userId="16503f38-d1f6-4183-be87-545c60b6292a" providerId="ADAL" clId="{941C210D-6EAA-6042-8B54-F47DFE3611D9}" dt="2024-03-19T20:50:27.258" v="768" actId="20577"/>
          <ac:graphicFrameMkLst>
            <pc:docMk/>
            <pc:sldMk cId="3310299437" sldId="2147472677"/>
            <ac:graphicFrameMk id="5" creationId="{C183A0E1-4D61-582F-337C-2BA319C147A9}"/>
          </ac:graphicFrameMkLst>
        </pc:graphicFrameChg>
      </pc:sldChg>
      <pc:sldChg chg="modSp add mod">
        <pc:chgData name="Jun Xu" userId="16503f38-d1f6-4183-be87-545c60b6292a" providerId="ADAL" clId="{941C210D-6EAA-6042-8B54-F47DFE3611D9}" dt="2024-03-19T20:53:05.449" v="1085" actId="20577"/>
        <pc:sldMkLst>
          <pc:docMk/>
          <pc:sldMk cId="1242631946" sldId="2147472683"/>
        </pc:sldMkLst>
        <pc:spChg chg="mod">
          <ac:chgData name="Jun Xu" userId="16503f38-d1f6-4183-be87-545c60b6292a" providerId="ADAL" clId="{941C210D-6EAA-6042-8B54-F47DFE3611D9}" dt="2024-03-19T20:53:05.449" v="1085" actId="20577"/>
          <ac:spMkLst>
            <pc:docMk/>
            <pc:sldMk cId="1242631946" sldId="2147472683"/>
            <ac:spMk id="2" creationId="{D132E6B5-E485-60D5-5F30-E987FCBD1CD8}"/>
          </ac:spMkLst>
        </pc:spChg>
      </pc:sldChg>
      <pc:sldChg chg="modSp mod addCm modCm">
        <pc:chgData name="Jun Xu" userId="16503f38-d1f6-4183-be87-545c60b6292a" providerId="ADAL" clId="{941C210D-6EAA-6042-8B54-F47DFE3611D9}" dt="2024-02-28T02:54:41.947" v="305"/>
        <pc:sldMkLst>
          <pc:docMk/>
          <pc:sldMk cId="1952947529" sldId="2147479457"/>
        </pc:sldMkLst>
        <pc:graphicFrameChg chg="modGraphic">
          <ac:chgData name="Jun Xu" userId="16503f38-d1f6-4183-be87-545c60b6292a" providerId="ADAL" clId="{941C210D-6EAA-6042-8B54-F47DFE3611D9}" dt="2024-02-28T02:51:40.541" v="304" actId="400"/>
          <ac:graphicFrameMkLst>
            <pc:docMk/>
            <pc:sldMk cId="1952947529" sldId="2147479457"/>
            <ac:graphicFrameMk id="3" creationId="{1BB599FD-6071-5C0B-0CCF-0A8634E74972}"/>
          </ac:graphicFrameMkLst>
        </pc:graphicFrameChg>
      </pc:sldChg>
      <pc:sldChg chg="addCm modCm">
        <pc:chgData name="Jun Xu" userId="16503f38-d1f6-4183-be87-545c60b6292a" providerId="ADAL" clId="{941C210D-6EAA-6042-8B54-F47DFE3611D9}" dt="2024-03-19T20:42:01.403" v="660"/>
        <pc:sldMkLst>
          <pc:docMk/>
          <pc:sldMk cId="4270880167" sldId="2147479467"/>
        </pc:sldMkLst>
      </pc:sldChg>
      <pc:sldChg chg="modSp mod modCm">
        <pc:chgData name="Jun Xu" userId="16503f38-d1f6-4183-be87-545c60b6292a" providerId="ADAL" clId="{941C210D-6EAA-6042-8B54-F47DFE3611D9}" dt="2024-03-15T15:36:14.520" v="583" actId="400"/>
        <pc:sldMkLst>
          <pc:docMk/>
          <pc:sldMk cId="1588382006" sldId="2147479470"/>
        </pc:sldMkLst>
        <pc:graphicFrameChg chg="mod modGraphic">
          <ac:chgData name="Jun Xu" userId="16503f38-d1f6-4183-be87-545c60b6292a" providerId="ADAL" clId="{941C210D-6EAA-6042-8B54-F47DFE3611D9}" dt="2024-03-15T15:36:14.520" v="583" actId="400"/>
          <ac:graphicFrameMkLst>
            <pc:docMk/>
            <pc:sldMk cId="1588382006" sldId="2147479470"/>
            <ac:graphicFrameMk id="3" creationId="{1BB599FD-6071-5C0B-0CCF-0A8634E74972}"/>
          </ac:graphicFrameMkLst>
        </pc:graphicFrameChg>
      </pc:sldChg>
      <pc:sldChg chg="modSp mod modCm">
        <pc:chgData name="Jun Xu" userId="16503f38-d1f6-4183-be87-545c60b6292a" providerId="ADAL" clId="{941C210D-6EAA-6042-8B54-F47DFE3611D9}" dt="2024-03-18T18:08:47.860" v="627" actId="20577"/>
        <pc:sldMkLst>
          <pc:docMk/>
          <pc:sldMk cId="843403101" sldId="2147479477"/>
        </pc:sldMkLst>
        <pc:graphicFrameChg chg="modGraphic">
          <ac:chgData name="Jun Xu" userId="16503f38-d1f6-4183-be87-545c60b6292a" providerId="ADAL" clId="{941C210D-6EAA-6042-8B54-F47DFE3611D9}" dt="2024-03-18T18:08:47.860" v="627" actId="20577"/>
          <ac:graphicFrameMkLst>
            <pc:docMk/>
            <pc:sldMk cId="843403101" sldId="2147479477"/>
            <ac:graphicFrameMk id="3" creationId="{1BB599FD-6071-5C0B-0CCF-0A8634E74972}"/>
          </ac:graphicFrameMkLst>
        </pc:graphicFrameChg>
      </pc:sldChg>
      <pc:sldChg chg="modSp mod modCm">
        <pc:chgData name="Jun Xu" userId="16503f38-d1f6-4183-be87-545c60b6292a" providerId="ADAL" clId="{941C210D-6EAA-6042-8B54-F47DFE3611D9}" dt="2024-03-19T20:46:05.840" v="674" actId="20577"/>
        <pc:sldMkLst>
          <pc:docMk/>
          <pc:sldMk cId="2761666500" sldId="2147479478"/>
        </pc:sldMkLst>
        <pc:spChg chg="mod">
          <ac:chgData name="Jun Xu" userId="16503f38-d1f6-4183-be87-545c60b6292a" providerId="ADAL" clId="{941C210D-6EAA-6042-8B54-F47DFE3611D9}" dt="2024-03-19T20:45:50.784" v="672" actId="1076"/>
          <ac:spMkLst>
            <pc:docMk/>
            <pc:sldMk cId="2761666500" sldId="2147479478"/>
            <ac:spMk id="4" creationId="{2402B536-6F4B-0BC0-5718-266C9D08A38C}"/>
          </ac:spMkLst>
        </pc:spChg>
        <pc:graphicFrameChg chg="mod modGraphic">
          <ac:chgData name="Jun Xu" userId="16503f38-d1f6-4183-be87-545c60b6292a" providerId="ADAL" clId="{941C210D-6EAA-6042-8B54-F47DFE3611D9}" dt="2024-03-19T20:46:05.840" v="674" actId="20577"/>
          <ac:graphicFrameMkLst>
            <pc:docMk/>
            <pc:sldMk cId="2761666500" sldId="2147479478"/>
            <ac:graphicFrameMk id="3" creationId="{1BB599FD-6071-5C0B-0CCF-0A8634E74972}"/>
          </ac:graphicFrameMkLst>
        </pc:graphicFrameChg>
      </pc:sldChg>
      <pc:sldChg chg="delSp new">
        <pc:chgData name="Jun Xu" userId="16503f38-d1f6-4183-be87-545c60b6292a" providerId="ADAL" clId="{941C210D-6EAA-6042-8B54-F47DFE3611D9}" dt="2024-03-18T18:09:42.904" v="629" actId="478"/>
        <pc:sldMkLst>
          <pc:docMk/>
          <pc:sldMk cId="3851002420" sldId="2147479479"/>
        </pc:sldMkLst>
        <pc:spChg chg="del">
          <ac:chgData name="Jun Xu" userId="16503f38-d1f6-4183-be87-545c60b6292a" providerId="ADAL" clId="{941C210D-6EAA-6042-8B54-F47DFE3611D9}" dt="2024-03-18T18:09:42.904" v="629" actId="478"/>
          <ac:spMkLst>
            <pc:docMk/>
            <pc:sldMk cId="3851002420" sldId="2147479479"/>
            <ac:spMk id="3" creationId="{8D4EBA7D-EDAF-81EF-9020-9D03E43E52B6}"/>
          </ac:spMkLst>
        </pc:spChg>
      </pc:sldChg>
      <pc:sldChg chg="delSp modSp add mod">
        <pc:chgData name="Jun Xu" userId="16503f38-d1f6-4183-be87-545c60b6292a" providerId="ADAL" clId="{941C210D-6EAA-6042-8B54-F47DFE3611D9}" dt="2024-03-19T20:48:35.104" v="716" actId="478"/>
        <pc:sldMkLst>
          <pc:docMk/>
          <pc:sldMk cId="2262082012" sldId="2147482138"/>
        </pc:sldMkLst>
        <pc:spChg chg="mod">
          <ac:chgData name="Jun Xu" userId="16503f38-d1f6-4183-be87-545c60b6292a" providerId="ADAL" clId="{941C210D-6EAA-6042-8B54-F47DFE3611D9}" dt="2024-03-19T20:48:32.507" v="715" actId="20577"/>
          <ac:spMkLst>
            <pc:docMk/>
            <pc:sldMk cId="2262082012" sldId="2147482138"/>
            <ac:spMk id="2" creationId="{2EE1EC38-29B0-75F9-5AD4-D0ABCA87157B}"/>
          </ac:spMkLst>
        </pc:spChg>
        <pc:spChg chg="del">
          <ac:chgData name="Jun Xu" userId="16503f38-d1f6-4183-be87-545c60b6292a" providerId="ADAL" clId="{941C210D-6EAA-6042-8B54-F47DFE3611D9}" dt="2024-03-19T20:48:35.104" v="716" actId="478"/>
          <ac:spMkLst>
            <pc:docMk/>
            <pc:sldMk cId="2262082012" sldId="2147482138"/>
            <ac:spMk id="4" creationId="{57A36D80-B592-8F51-7E66-24E281249BE6}"/>
          </ac:spMkLst>
        </pc:spChg>
      </pc:sldChg>
    </pc:docChg>
  </pc:docChgLst>
  <pc:docChgLst>
    <pc:chgData name="Celeste Hsieh" userId="3c23dc7f-1c43-4092-97b9-786e61784316" providerId="ADAL" clId="{FB7F5F97-BFC2-4444-A5CE-2178AB72CEF5}"/>
    <pc:docChg chg="undo custSel addSld delSld modSld sldOrd modSection">
      <pc:chgData name="Celeste Hsieh" userId="3c23dc7f-1c43-4092-97b9-786e61784316" providerId="ADAL" clId="{FB7F5F97-BFC2-4444-A5CE-2178AB72CEF5}" dt="2024-03-26T22:41:02.874" v="2354"/>
      <pc:docMkLst>
        <pc:docMk/>
      </pc:docMkLst>
      <pc:sldChg chg="addSp modSp">
        <pc:chgData name="Celeste Hsieh" userId="3c23dc7f-1c43-4092-97b9-786e61784316" providerId="ADAL" clId="{FB7F5F97-BFC2-4444-A5CE-2178AB72CEF5}" dt="2024-03-26T18:08:09.494" v="2164"/>
        <pc:sldMkLst>
          <pc:docMk/>
          <pc:sldMk cId="3841480617" sldId="2141411687"/>
        </pc:sldMkLst>
        <pc:spChg chg="add mod">
          <ac:chgData name="Celeste Hsieh" userId="3c23dc7f-1c43-4092-97b9-786e61784316" providerId="ADAL" clId="{FB7F5F97-BFC2-4444-A5CE-2178AB72CEF5}" dt="2024-03-26T18:08:09.494" v="2164"/>
          <ac:spMkLst>
            <pc:docMk/>
            <pc:sldMk cId="3841480617" sldId="2141411687"/>
            <ac:spMk id="6" creationId="{7F7F7FC9-D5A4-A234-BC17-6BE35AC01075}"/>
          </ac:spMkLst>
        </pc:spChg>
      </pc:sldChg>
      <pc:sldChg chg="addSp modSp delCm">
        <pc:chgData name="Celeste Hsieh" userId="3c23dc7f-1c43-4092-97b9-786e61784316" providerId="ADAL" clId="{FB7F5F97-BFC2-4444-A5CE-2178AB72CEF5}" dt="2024-03-26T21:47:34.123" v="2297"/>
        <pc:sldMkLst>
          <pc:docMk/>
          <pc:sldMk cId="1086338696" sldId="2146847517"/>
        </pc:sldMkLst>
        <pc:spChg chg="add mod">
          <ac:chgData name="Celeste Hsieh" userId="3c23dc7f-1c43-4092-97b9-786e61784316" providerId="ADAL" clId="{FB7F5F97-BFC2-4444-A5CE-2178AB72CEF5}" dt="2024-03-26T18:04:38.017" v="2155"/>
          <ac:spMkLst>
            <pc:docMk/>
            <pc:sldMk cId="1086338696" sldId="2146847517"/>
            <ac:spMk id="5" creationId="{857D6CCD-9747-4F1A-971E-E4F41ED2FF5F}"/>
          </ac:spMkLst>
        </pc:spChg>
      </pc:sldChg>
      <pc:sldChg chg="delCm">
        <pc:chgData name="Celeste Hsieh" userId="3c23dc7f-1c43-4092-97b9-786e61784316" providerId="ADAL" clId="{FB7F5F97-BFC2-4444-A5CE-2178AB72CEF5}" dt="2024-03-26T21:49:10.494" v="2328"/>
        <pc:sldMkLst>
          <pc:docMk/>
          <pc:sldMk cId="1280071501" sldId="2146847862"/>
        </pc:sldMkLst>
      </pc:sldChg>
      <pc:sldChg chg="addSp delSp modSp mod ord delCm modCm">
        <pc:chgData name="Celeste Hsieh" userId="3c23dc7f-1c43-4092-97b9-786e61784316" providerId="ADAL" clId="{FB7F5F97-BFC2-4444-A5CE-2178AB72CEF5}" dt="2024-03-26T21:47:20.164" v="2293"/>
        <pc:sldMkLst>
          <pc:docMk/>
          <pc:sldMk cId="3998398124" sldId="2146847936"/>
        </pc:sldMkLst>
        <pc:spChg chg="add mod">
          <ac:chgData name="Celeste Hsieh" userId="3c23dc7f-1c43-4092-97b9-786e61784316" providerId="ADAL" clId="{FB7F5F97-BFC2-4444-A5CE-2178AB72CEF5}" dt="2024-03-26T18:04:09.288" v="2149"/>
          <ac:spMkLst>
            <pc:docMk/>
            <pc:sldMk cId="3998398124" sldId="2146847936"/>
            <ac:spMk id="2" creationId="{89286B85-193D-36CE-EBBA-45950C3ACE5E}"/>
          </ac:spMkLst>
        </pc:spChg>
        <pc:spChg chg="mod">
          <ac:chgData name="Celeste Hsieh" userId="3c23dc7f-1c43-4092-97b9-786e61784316" providerId="ADAL" clId="{FB7F5F97-BFC2-4444-A5CE-2178AB72CEF5}" dt="2024-03-26T19:18:02.957" v="2259" actId="692"/>
          <ac:spMkLst>
            <pc:docMk/>
            <pc:sldMk cId="3998398124" sldId="2146847936"/>
            <ac:spMk id="5" creationId="{6ADF52A1-DCD6-D6C7-6C30-2067B4984EE7}"/>
          </ac:spMkLst>
        </pc:spChg>
        <pc:spChg chg="mod">
          <ac:chgData name="Celeste Hsieh" userId="3c23dc7f-1c43-4092-97b9-786e61784316" providerId="ADAL" clId="{FB7F5F97-BFC2-4444-A5CE-2178AB72CEF5}" dt="2024-03-25T21:38:08.670" v="1036" actId="5793"/>
          <ac:spMkLst>
            <pc:docMk/>
            <pc:sldMk cId="3998398124" sldId="2146847936"/>
            <ac:spMk id="9" creationId="{9FB8C2FD-6BA7-D337-7E44-4E1FCA2D8675}"/>
          </ac:spMkLst>
        </pc:spChg>
        <pc:spChg chg="mod">
          <ac:chgData name="Celeste Hsieh" userId="3c23dc7f-1c43-4092-97b9-786e61784316" providerId="ADAL" clId="{FB7F5F97-BFC2-4444-A5CE-2178AB72CEF5}" dt="2024-03-26T19:17:57.194" v="2257" actId="692"/>
          <ac:spMkLst>
            <pc:docMk/>
            <pc:sldMk cId="3998398124" sldId="2146847936"/>
            <ac:spMk id="28" creationId="{69956D4D-C678-2429-0FD2-4E25EBA26E23}"/>
          </ac:spMkLst>
        </pc:spChg>
        <pc:spChg chg="mod">
          <ac:chgData name="Celeste Hsieh" userId="3c23dc7f-1c43-4092-97b9-786e61784316" providerId="ADAL" clId="{FB7F5F97-BFC2-4444-A5CE-2178AB72CEF5}" dt="2024-03-26T19:16:48.072" v="2248" actId="207"/>
          <ac:spMkLst>
            <pc:docMk/>
            <pc:sldMk cId="3998398124" sldId="2146847936"/>
            <ac:spMk id="30" creationId="{A2ABFC14-5EB9-AD3D-B6A0-ECD7168E35CB}"/>
          </ac:spMkLst>
        </pc:spChg>
        <pc:grpChg chg="del">
          <ac:chgData name="Celeste Hsieh" userId="3c23dc7f-1c43-4092-97b9-786e61784316" providerId="ADAL" clId="{FB7F5F97-BFC2-4444-A5CE-2178AB72CEF5}" dt="2024-03-25T21:36:18.705" v="863" actId="478"/>
          <ac:grpSpMkLst>
            <pc:docMk/>
            <pc:sldMk cId="3998398124" sldId="2146847936"/>
            <ac:grpSpMk id="3" creationId="{CC4804F2-9D70-EC5F-3BF3-DE9DAB80ECCC}"/>
          </ac:grpSpMkLst>
        </pc:grpChg>
        <pc:grpChg chg="mod">
          <ac:chgData name="Celeste Hsieh" userId="3c23dc7f-1c43-4092-97b9-786e61784316" providerId="ADAL" clId="{FB7F5F97-BFC2-4444-A5CE-2178AB72CEF5}" dt="2024-03-25T21:37:21.228" v="965" actId="14100"/>
          <ac:grpSpMkLst>
            <pc:docMk/>
            <pc:sldMk cId="3998398124" sldId="2146847936"/>
            <ac:grpSpMk id="4" creationId="{4EF5E34E-A0DD-9059-5BC6-18546F33BA17}"/>
          </ac:grpSpMkLst>
        </pc:grpChg>
        <pc:cxnChg chg="mod">
          <ac:chgData name="Celeste Hsieh" userId="3c23dc7f-1c43-4092-97b9-786e61784316" providerId="ADAL" clId="{FB7F5F97-BFC2-4444-A5CE-2178AB72CEF5}" dt="2024-03-25T21:36:18.705" v="863" actId="478"/>
          <ac:cxnSpMkLst>
            <pc:docMk/>
            <pc:sldMk cId="3998398124" sldId="2146847936"/>
            <ac:cxnSpMk id="17" creationId="{EBE90DF1-A210-B1E1-5AA0-A303DAAD7CCC}"/>
          </ac:cxnSpMkLst>
        </pc:cxnChg>
        <pc:cxnChg chg="mod">
          <ac:chgData name="Celeste Hsieh" userId="3c23dc7f-1c43-4092-97b9-786e61784316" providerId="ADAL" clId="{FB7F5F97-BFC2-4444-A5CE-2178AB72CEF5}" dt="2024-03-25T21:36:18.705" v="863" actId="478"/>
          <ac:cxnSpMkLst>
            <pc:docMk/>
            <pc:sldMk cId="3998398124" sldId="2146847936"/>
            <ac:cxnSpMk id="19" creationId="{2FC9C2B4-8F82-F38D-8BDC-547E8835A31B}"/>
          </ac:cxnSpMkLst>
        </pc:cxnChg>
        <pc:cxnChg chg="mod">
          <ac:chgData name="Celeste Hsieh" userId="3c23dc7f-1c43-4092-97b9-786e61784316" providerId="ADAL" clId="{FB7F5F97-BFC2-4444-A5CE-2178AB72CEF5}" dt="2024-03-25T21:36:18.705" v="863" actId="478"/>
          <ac:cxnSpMkLst>
            <pc:docMk/>
            <pc:sldMk cId="3998398124" sldId="2146847936"/>
            <ac:cxnSpMk id="20" creationId="{8760BCD0-0698-16C5-7FB1-6F473ECFB6F2}"/>
          </ac:cxnSpMkLst>
        </pc:cxnChg>
        <pc:cxnChg chg="mod">
          <ac:chgData name="Celeste Hsieh" userId="3c23dc7f-1c43-4092-97b9-786e61784316" providerId="ADAL" clId="{FB7F5F97-BFC2-4444-A5CE-2178AB72CEF5}" dt="2024-03-25T21:36:18.705" v="863" actId="478"/>
          <ac:cxnSpMkLst>
            <pc:docMk/>
            <pc:sldMk cId="3998398124" sldId="2146847936"/>
            <ac:cxnSpMk id="21" creationId="{BB10572A-75A4-B709-B3EC-81CD1054BB69}"/>
          </ac:cxnSpMkLst>
        </pc:cxnChg>
        <pc:cxnChg chg="mod">
          <ac:chgData name="Celeste Hsieh" userId="3c23dc7f-1c43-4092-97b9-786e61784316" providerId="ADAL" clId="{FB7F5F97-BFC2-4444-A5CE-2178AB72CEF5}" dt="2024-03-25T21:36:18.705" v="863" actId="478"/>
          <ac:cxnSpMkLst>
            <pc:docMk/>
            <pc:sldMk cId="3998398124" sldId="2146847936"/>
            <ac:cxnSpMk id="22" creationId="{A372D616-544A-1B73-A01A-C8BF781A8A12}"/>
          </ac:cxnSpMkLst>
        </pc:cxnChg>
        <pc:cxnChg chg="mod">
          <ac:chgData name="Celeste Hsieh" userId="3c23dc7f-1c43-4092-97b9-786e61784316" providerId="ADAL" clId="{FB7F5F97-BFC2-4444-A5CE-2178AB72CEF5}" dt="2024-03-25T21:36:18.705" v="863" actId="478"/>
          <ac:cxnSpMkLst>
            <pc:docMk/>
            <pc:sldMk cId="3998398124" sldId="2146847936"/>
            <ac:cxnSpMk id="25" creationId="{E813AE1E-5394-F7D1-72FC-8214B76CCC2E}"/>
          </ac:cxnSpMkLst>
        </pc:cxnChg>
      </pc:sldChg>
      <pc:sldChg chg="addSp modSp delCm modCm">
        <pc:chgData name="Celeste Hsieh" userId="3c23dc7f-1c43-4092-97b9-786e61784316" providerId="ADAL" clId="{FB7F5F97-BFC2-4444-A5CE-2178AB72CEF5}" dt="2024-03-26T21:47:30.180" v="2296"/>
        <pc:sldMkLst>
          <pc:docMk/>
          <pc:sldMk cId="2212317420" sldId="2146847938"/>
        </pc:sldMkLst>
        <pc:spChg chg="add mod">
          <ac:chgData name="Celeste Hsieh" userId="3c23dc7f-1c43-4092-97b9-786e61784316" providerId="ADAL" clId="{FB7F5F97-BFC2-4444-A5CE-2178AB72CEF5}" dt="2024-03-26T18:04:20.605" v="2152"/>
          <ac:spMkLst>
            <pc:docMk/>
            <pc:sldMk cId="2212317420" sldId="2146847938"/>
            <ac:spMk id="3" creationId="{2802ABD3-2867-8E33-E19B-3A213394F13D}"/>
          </ac:spMkLst>
        </pc:spChg>
      </pc:sldChg>
      <pc:sldChg chg="modSp mod addCm delCm modCm">
        <pc:chgData name="Celeste Hsieh" userId="3c23dc7f-1c43-4092-97b9-786e61784316" providerId="ADAL" clId="{FB7F5F97-BFC2-4444-A5CE-2178AB72CEF5}" dt="2024-03-26T21:45:28.375" v="2271"/>
        <pc:sldMkLst>
          <pc:docMk/>
          <pc:sldMk cId="11518599" sldId="2147308834"/>
        </pc:sldMkLst>
        <pc:spChg chg="mod">
          <ac:chgData name="Celeste Hsieh" userId="3c23dc7f-1c43-4092-97b9-786e61784316" providerId="ADAL" clId="{FB7F5F97-BFC2-4444-A5CE-2178AB72CEF5}" dt="2024-03-25T21:23:04.811" v="376"/>
          <ac:spMkLst>
            <pc:docMk/>
            <pc:sldMk cId="11518599" sldId="2147308834"/>
            <ac:spMk id="3" creationId="{71B74FEB-1A2D-FF9C-BA35-C7DAD4E39E8F}"/>
          </ac:spMkLst>
        </pc:spChg>
      </pc:sldChg>
      <pc:sldChg chg="del mod modShow addCm">
        <pc:chgData name="Celeste Hsieh" userId="3c23dc7f-1c43-4092-97b9-786e61784316" providerId="ADAL" clId="{FB7F5F97-BFC2-4444-A5CE-2178AB72CEF5}" dt="2024-03-26T21:45:50.158" v="2275" actId="47"/>
        <pc:sldMkLst>
          <pc:docMk/>
          <pc:sldMk cId="2125833813" sldId="2147471529"/>
        </pc:sldMkLst>
      </pc:sldChg>
      <pc:sldChg chg="modSp mod">
        <pc:chgData name="Celeste Hsieh" userId="3c23dc7f-1c43-4092-97b9-786e61784316" providerId="ADAL" clId="{FB7F5F97-BFC2-4444-A5CE-2178AB72CEF5}" dt="2024-03-19T16:46:22.248" v="13" actId="20577"/>
        <pc:sldMkLst>
          <pc:docMk/>
          <pc:sldMk cId="2584841147" sldId="2147471742"/>
        </pc:sldMkLst>
        <pc:graphicFrameChg chg="modGraphic">
          <ac:chgData name="Celeste Hsieh" userId="3c23dc7f-1c43-4092-97b9-786e61784316" providerId="ADAL" clId="{FB7F5F97-BFC2-4444-A5CE-2178AB72CEF5}" dt="2024-03-19T16:46:22.248" v="13" actId="20577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  <pc:sldChg chg="addSp delSp modSp mod delCm modCm">
        <pc:chgData name="Celeste Hsieh" userId="3c23dc7f-1c43-4092-97b9-786e61784316" providerId="ADAL" clId="{FB7F5F97-BFC2-4444-A5CE-2178AB72CEF5}" dt="2024-03-26T21:49:59.928" v="2337"/>
        <pc:sldMkLst>
          <pc:docMk/>
          <pc:sldMk cId="3190076938" sldId="2147472670"/>
        </pc:sldMkLst>
        <pc:spChg chg="mod">
          <ac:chgData name="Celeste Hsieh" userId="3c23dc7f-1c43-4092-97b9-786e61784316" providerId="ADAL" clId="{FB7F5F97-BFC2-4444-A5CE-2178AB72CEF5}" dt="2024-03-26T18:10:03.019" v="2184" actId="1076"/>
          <ac:spMkLst>
            <pc:docMk/>
            <pc:sldMk cId="3190076938" sldId="2147472670"/>
            <ac:spMk id="4" creationId="{3C82F452-0863-3B4E-85D1-65B2DFF1618C}"/>
          </ac:spMkLst>
        </pc:spChg>
        <pc:spChg chg="add del mod">
          <ac:chgData name="Celeste Hsieh" userId="3c23dc7f-1c43-4092-97b9-786e61784316" providerId="ADAL" clId="{FB7F5F97-BFC2-4444-A5CE-2178AB72CEF5}" dt="2024-03-26T18:09:55.653" v="2182"/>
          <ac:spMkLst>
            <pc:docMk/>
            <pc:sldMk cId="3190076938" sldId="2147472670"/>
            <ac:spMk id="5" creationId="{BDD42F0F-0ECE-E959-CE08-6FB6BF810A5E}"/>
          </ac:spMkLst>
        </pc:spChg>
        <pc:spChg chg="add mod">
          <ac:chgData name="Celeste Hsieh" userId="3c23dc7f-1c43-4092-97b9-786e61784316" providerId="ADAL" clId="{FB7F5F97-BFC2-4444-A5CE-2178AB72CEF5}" dt="2024-03-26T18:09:58.826" v="2183"/>
          <ac:spMkLst>
            <pc:docMk/>
            <pc:sldMk cId="3190076938" sldId="2147472670"/>
            <ac:spMk id="10" creationId="{B82AABB6-EA71-F1CD-075F-CB56DD8FCE47}"/>
          </ac:spMkLst>
        </pc:spChg>
      </pc:sldChg>
      <pc:sldChg chg="addSp delSp modSp del mod">
        <pc:chgData name="Celeste Hsieh" userId="3c23dc7f-1c43-4092-97b9-786e61784316" providerId="ADAL" clId="{FB7F5F97-BFC2-4444-A5CE-2178AB72CEF5}" dt="2024-03-26T21:50:17.542" v="2338" actId="47"/>
        <pc:sldMkLst>
          <pc:docMk/>
          <pc:sldMk cId="1242631946" sldId="2147472683"/>
        </pc:sldMkLst>
        <pc:spChg chg="mod">
          <ac:chgData name="Celeste Hsieh" userId="3c23dc7f-1c43-4092-97b9-786e61784316" providerId="ADAL" clId="{FB7F5F97-BFC2-4444-A5CE-2178AB72CEF5}" dt="2024-03-26T18:10:37.332" v="2193" actId="20577"/>
          <ac:spMkLst>
            <pc:docMk/>
            <pc:sldMk cId="1242631946" sldId="2147472683"/>
            <ac:spMk id="2" creationId="{D132E6B5-E485-60D5-5F30-E987FCBD1CD8}"/>
          </ac:spMkLst>
        </pc:spChg>
        <pc:spChg chg="add del mod">
          <ac:chgData name="Celeste Hsieh" userId="3c23dc7f-1c43-4092-97b9-786e61784316" providerId="ADAL" clId="{FB7F5F97-BFC2-4444-A5CE-2178AB72CEF5}" dt="2024-03-26T18:10:37.981" v="2194"/>
          <ac:spMkLst>
            <pc:docMk/>
            <pc:sldMk cId="1242631946" sldId="2147472683"/>
            <ac:spMk id="9" creationId="{57E33E9E-5792-72A8-78A0-4F7194B7B290}"/>
          </ac:spMkLst>
        </pc:spChg>
      </pc:sldChg>
      <pc:sldChg chg="modSp mod addCm modCm">
        <pc:chgData name="Celeste Hsieh" userId="3c23dc7f-1c43-4092-97b9-786e61784316" providerId="ADAL" clId="{FB7F5F97-BFC2-4444-A5CE-2178AB72CEF5}" dt="2024-03-19T19:33:14.855" v="196" actId="20577"/>
        <pc:sldMkLst>
          <pc:docMk/>
          <pc:sldMk cId="881740034" sldId="2147479353"/>
        </pc:sldMkLst>
        <pc:spChg chg="mod">
          <ac:chgData name="Celeste Hsieh" userId="3c23dc7f-1c43-4092-97b9-786e61784316" providerId="ADAL" clId="{FB7F5F97-BFC2-4444-A5CE-2178AB72CEF5}" dt="2024-03-19T19:33:14.855" v="196" actId="20577"/>
          <ac:spMkLst>
            <pc:docMk/>
            <pc:sldMk cId="881740034" sldId="2147479353"/>
            <ac:spMk id="3" creationId="{7D836601-6754-9347-8E4F-019A9E8569EC}"/>
          </ac:spMkLst>
        </pc:spChg>
      </pc:sldChg>
      <pc:sldChg chg="delCm">
        <pc:chgData name="Celeste Hsieh" userId="3c23dc7f-1c43-4092-97b9-786e61784316" providerId="ADAL" clId="{FB7F5F97-BFC2-4444-A5CE-2178AB72CEF5}" dt="2024-03-26T21:49:17.517" v="2329"/>
        <pc:sldMkLst>
          <pc:docMk/>
          <pc:sldMk cId="846570333" sldId="2147479418"/>
        </pc:sldMkLst>
      </pc:sldChg>
      <pc:sldChg chg="add del">
        <pc:chgData name="Celeste Hsieh" userId="3c23dc7f-1c43-4092-97b9-786e61784316" providerId="ADAL" clId="{FB7F5F97-BFC2-4444-A5CE-2178AB72CEF5}" dt="2024-03-19T18:27:30.408" v="79"/>
        <pc:sldMkLst>
          <pc:docMk/>
          <pc:sldMk cId="2310447717" sldId="2147479420"/>
        </pc:sldMkLst>
      </pc:sldChg>
      <pc:sldChg chg="addSp delSp modSp mod addCm delCm modCm">
        <pc:chgData name="Celeste Hsieh" userId="3c23dc7f-1c43-4092-97b9-786e61784316" providerId="ADAL" clId="{FB7F5F97-BFC2-4444-A5CE-2178AB72CEF5}" dt="2024-03-26T21:45:35.660" v="2274"/>
        <pc:sldMkLst>
          <pc:docMk/>
          <pc:sldMk cId="3183540392" sldId="2147479420"/>
        </pc:sldMkLst>
        <pc:spChg chg="add del mod">
          <ac:chgData name="Celeste Hsieh" userId="3c23dc7f-1c43-4092-97b9-786e61784316" providerId="ADAL" clId="{FB7F5F97-BFC2-4444-A5CE-2178AB72CEF5}" dt="2024-03-26T18:03:05.702" v="2138"/>
          <ac:spMkLst>
            <pc:docMk/>
            <pc:sldMk cId="3183540392" sldId="2147479420"/>
            <ac:spMk id="7" creationId="{A6439E6F-660A-D0C4-6E15-795603CA4E2E}"/>
          </ac:spMkLst>
        </pc:spChg>
        <pc:spChg chg="mod">
          <ac:chgData name="Celeste Hsieh" userId="3c23dc7f-1c43-4092-97b9-786e61784316" providerId="ADAL" clId="{FB7F5F97-BFC2-4444-A5CE-2178AB72CEF5}" dt="2024-03-26T19:01:24.460" v="2209" actId="20577"/>
          <ac:spMkLst>
            <pc:docMk/>
            <pc:sldMk cId="3183540392" sldId="2147479420"/>
            <ac:spMk id="11" creationId="{A5E9D07B-9537-114B-C2DB-D897AC1ECF95}"/>
          </ac:spMkLst>
        </pc:spChg>
        <pc:spChg chg="mod">
          <ac:chgData name="Celeste Hsieh" userId="3c23dc7f-1c43-4092-97b9-786e61784316" providerId="ADAL" clId="{FB7F5F97-BFC2-4444-A5CE-2178AB72CEF5}" dt="2024-03-21T20:49:07.832" v="366" actId="20577"/>
          <ac:spMkLst>
            <pc:docMk/>
            <pc:sldMk cId="3183540392" sldId="2147479420"/>
            <ac:spMk id="29" creationId="{633A30B5-9567-3F13-0117-6AA1978BB389}"/>
          </ac:spMkLst>
        </pc:spChg>
        <pc:spChg chg="add mod">
          <ac:chgData name="Celeste Hsieh" userId="3c23dc7f-1c43-4092-97b9-786e61784316" providerId="ADAL" clId="{FB7F5F97-BFC2-4444-A5CE-2178AB72CEF5}" dt="2024-03-26T18:03:09.237" v="2139"/>
          <ac:spMkLst>
            <pc:docMk/>
            <pc:sldMk cId="3183540392" sldId="2147479420"/>
            <ac:spMk id="31" creationId="{A6992C24-8983-1754-26A5-4497D910AC3F}"/>
          </ac:spMkLst>
        </pc:spChg>
        <pc:graphicFrameChg chg="mod modGraphic">
          <ac:chgData name="Celeste Hsieh" userId="3c23dc7f-1c43-4092-97b9-786e61784316" providerId="ADAL" clId="{FB7F5F97-BFC2-4444-A5CE-2178AB72CEF5}" dt="2024-03-26T19:02:40.280" v="2229" actId="255"/>
          <ac:graphicFrameMkLst>
            <pc:docMk/>
            <pc:sldMk cId="3183540392" sldId="2147479420"/>
            <ac:graphicFrameMk id="42" creationId="{6969D883-7E1C-7CE9-A35B-54977D69C2D6}"/>
          </ac:graphicFrameMkLst>
        </pc:graphicFrameChg>
      </pc:sldChg>
      <pc:sldChg chg="modSp mod addCm delCm modCm">
        <pc:chgData name="Celeste Hsieh" userId="3c23dc7f-1c43-4092-97b9-786e61784316" providerId="ADAL" clId="{FB7F5F97-BFC2-4444-A5CE-2178AB72CEF5}" dt="2024-03-26T21:46:19.003" v="2284"/>
        <pc:sldMkLst>
          <pc:docMk/>
          <pc:sldMk cId="2778654706" sldId="2147479426"/>
        </pc:sldMkLst>
        <pc:spChg chg="mod">
          <ac:chgData name="Celeste Hsieh" userId="3c23dc7f-1c43-4092-97b9-786e61784316" providerId="ADAL" clId="{FB7F5F97-BFC2-4444-A5CE-2178AB72CEF5}" dt="2024-03-21T16:15:11.806" v="364" actId="20577"/>
          <ac:spMkLst>
            <pc:docMk/>
            <pc:sldMk cId="2778654706" sldId="2147479426"/>
            <ac:spMk id="3" creationId="{C6145EF6-3760-64C2-0384-F9533F7A9648}"/>
          </ac:spMkLst>
        </pc:spChg>
      </pc:sldChg>
      <pc:sldChg chg="modSp mod delCm modCm">
        <pc:chgData name="Celeste Hsieh" userId="3c23dc7f-1c43-4092-97b9-786e61784316" providerId="ADAL" clId="{FB7F5F97-BFC2-4444-A5CE-2178AB72CEF5}" dt="2024-03-26T21:48:39.472" v="2326" actId="20577"/>
        <pc:sldMkLst>
          <pc:docMk/>
          <pc:sldMk cId="3049584673" sldId="2147479431"/>
        </pc:sldMkLst>
        <pc:spChg chg="mod">
          <ac:chgData name="Celeste Hsieh" userId="3c23dc7f-1c43-4092-97b9-786e61784316" providerId="ADAL" clId="{FB7F5F97-BFC2-4444-A5CE-2178AB72CEF5}" dt="2024-03-26T21:48:39.472" v="2326" actId="20577"/>
          <ac:spMkLst>
            <pc:docMk/>
            <pc:sldMk cId="3049584673" sldId="2147479431"/>
            <ac:spMk id="3" creationId="{C6145EF6-3760-64C2-0384-F9533F7A9648}"/>
          </ac:spMkLst>
        </pc:spChg>
      </pc:sldChg>
      <pc:sldChg chg="addSp modSp">
        <pc:chgData name="Celeste Hsieh" userId="3c23dc7f-1c43-4092-97b9-786e61784316" providerId="ADAL" clId="{FB7F5F97-BFC2-4444-A5CE-2178AB72CEF5}" dt="2024-03-26T18:08:39.190" v="2169"/>
        <pc:sldMkLst>
          <pc:docMk/>
          <pc:sldMk cId="1179079080" sldId="2147479436"/>
        </pc:sldMkLst>
        <pc:spChg chg="add mod">
          <ac:chgData name="Celeste Hsieh" userId="3c23dc7f-1c43-4092-97b9-786e61784316" providerId="ADAL" clId="{FB7F5F97-BFC2-4444-A5CE-2178AB72CEF5}" dt="2024-03-26T18:08:39.190" v="2169"/>
          <ac:spMkLst>
            <pc:docMk/>
            <pc:sldMk cId="1179079080" sldId="2147479436"/>
            <ac:spMk id="3" creationId="{D4B6AA93-D3FC-568C-DC9C-3152BFCEF6A1}"/>
          </ac:spMkLst>
        </pc:spChg>
      </pc:sldChg>
      <pc:sldChg chg="delCm">
        <pc:chgData name="Celeste Hsieh" userId="3c23dc7f-1c43-4092-97b9-786e61784316" providerId="ADAL" clId="{FB7F5F97-BFC2-4444-A5CE-2178AB72CEF5}" dt="2024-03-26T21:47:36.707" v="2298"/>
        <pc:sldMkLst>
          <pc:docMk/>
          <pc:sldMk cId="3151860006" sldId="2147479462"/>
        </pc:sldMkLst>
      </pc:sldChg>
      <pc:sldChg chg="del delCm">
        <pc:chgData name="Celeste Hsieh" userId="3c23dc7f-1c43-4092-97b9-786e61784316" providerId="ADAL" clId="{FB7F5F97-BFC2-4444-A5CE-2178AB72CEF5}" dt="2024-03-26T21:46:04.978" v="2280" actId="47"/>
        <pc:sldMkLst>
          <pc:docMk/>
          <pc:sldMk cId="4270880167" sldId="2147479467"/>
        </pc:sldMkLst>
      </pc:sldChg>
      <pc:sldChg chg="addSp delSp modSp mod delCm modCm">
        <pc:chgData name="Celeste Hsieh" userId="3c23dc7f-1c43-4092-97b9-786e61784316" providerId="ADAL" clId="{FB7F5F97-BFC2-4444-A5CE-2178AB72CEF5}" dt="2024-03-26T21:47:45.965" v="2301"/>
        <pc:sldMkLst>
          <pc:docMk/>
          <pc:sldMk cId="2923371731" sldId="2147479473"/>
        </pc:sldMkLst>
        <pc:spChg chg="del">
          <ac:chgData name="Celeste Hsieh" userId="3c23dc7f-1c43-4092-97b9-786e61784316" providerId="ADAL" clId="{FB7F5F97-BFC2-4444-A5CE-2178AB72CEF5}" dt="2024-03-25T21:40:03.391" v="1037" actId="478"/>
          <ac:spMkLst>
            <pc:docMk/>
            <pc:sldMk cId="2923371731" sldId="2147479473"/>
            <ac:spMk id="4" creationId="{E9D42822-9BE0-7DB1-3D9E-7531F9FF8EB5}"/>
          </ac:spMkLst>
        </pc:spChg>
        <pc:spChg chg="add mod">
          <ac:chgData name="Celeste Hsieh" userId="3c23dc7f-1c43-4092-97b9-786e61784316" providerId="ADAL" clId="{FB7F5F97-BFC2-4444-A5CE-2178AB72CEF5}" dt="2024-03-26T18:04:51.721" v="2156"/>
          <ac:spMkLst>
            <pc:docMk/>
            <pc:sldMk cId="2923371731" sldId="2147479473"/>
            <ac:spMk id="4" creationId="{EE62AAE5-AFEF-684E-19D9-7CE2DA5DFC9B}"/>
          </ac:spMkLst>
        </pc:spChg>
        <pc:spChg chg="mod">
          <ac:chgData name="Celeste Hsieh" userId="3c23dc7f-1c43-4092-97b9-786e61784316" providerId="ADAL" clId="{FB7F5F97-BFC2-4444-A5CE-2178AB72CEF5}" dt="2024-03-25T21:45:53.069" v="1066" actId="13926"/>
          <ac:spMkLst>
            <pc:docMk/>
            <pc:sldMk cId="2923371731" sldId="2147479473"/>
            <ac:spMk id="5" creationId="{D44F7D7D-4C1A-CCF5-859A-A3F02C182D9E}"/>
          </ac:spMkLst>
        </pc:spChg>
      </pc:sldChg>
      <pc:sldChg chg="addSp modSp">
        <pc:chgData name="Celeste Hsieh" userId="3c23dc7f-1c43-4092-97b9-786e61784316" providerId="ADAL" clId="{FB7F5F97-BFC2-4444-A5CE-2178AB72CEF5}" dt="2024-03-26T18:08:31.615" v="2168"/>
        <pc:sldMkLst>
          <pc:docMk/>
          <pc:sldMk cId="572539407" sldId="2147479474"/>
        </pc:sldMkLst>
        <pc:spChg chg="add mod">
          <ac:chgData name="Celeste Hsieh" userId="3c23dc7f-1c43-4092-97b9-786e61784316" providerId="ADAL" clId="{FB7F5F97-BFC2-4444-A5CE-2178AB72CEF5}" dt="2024-03-26T18:08:31.615" v="2168"/>
          <ac:spMkLst>
            <pc:docMk/>
            <pc:sldMk cId="572539407" sldId="2147479474"/>
            <ac:spMk id="3" creationId="{7C9779F2-C79E-6AEF-66E2-87C0888979D8}"/>
          </ac:spMkLst>
        </pc:spChg>
      </pc:sldChg>
      <pc:sldChg chg="addSp modSp delCm">
        <pc:chgData name="Celeste Hsieh" userId="3c23dc7f-1c43-4092-97b9-786e61784316" providerId="ADAL" clId="{FB7F5F97-BFC2-4444-A5CE-2178AB72CEF5}" dt="2024-03-26T21:49:20.904" v="2330"/>
        <pc:sldMkLst>
          <pc:docMk/>
          <pc:sldMk cId="188725729" sldId="2147479475"/>
        </pc:sldMkLst>
        <pc:spChg chg="add mod">
          <ac:chgData name="Celeste Hsieh" userId="3c23dc7f-1c43-4092-97b9-786e61784316" providerId="ADAL" clId="{FB7F5F97-BFC2-4444-A5CE-2178AB72CEF5}" dt="2024-03-26T18:08:28.067" v="2167"/>
          <ac:spMkLst>
            <pc:docMk/>
            <pc:sldMk cId="188725729" sldId="2147479475"/>
            <ac:spMk id="4" creationId="{DE63497F-3B88-8373-8E81-9ED61657E42C}"/>
          </ac:spMkLst>
        </pc:spChg>
      </pc:sldChg>
      <pc:sldChg chg="del mod modShow">
        <pc:chgData name="Celeste Hsieh" userId="3c23dc7f-1c43-4092-97b9-786e61784316" providerId="ADAL" clId="{FB7F5F97-BFC2-4444-A5CE-2178AB72CEF5}" dt="2024-03-26T21:47:59.967" v="2311" actId="47"/>
        <pc:sldMkLst>
          <pc:docMk/>
          <pc:sldMk cId="3163595313" sldId="2147479477"/>
        </pc:sldMkLst>
      </pc:sldChg>
      <pc:sldChg chg="addSp delSp modSp mod delCm">
        <pc:chgData name="Celeste Hsieh" userId="3c23dc7f-1c43-4092-97b9-786e61784316" providerId="ADAL" clId="{FB7F5F97-BFC2-4444-A5CE-2178AB72CEF5}" dt="2024-03-26T21:47:55.654" v="2310"/>
        <pc:sldMkLst>
          <pc:docMk/>
          <pc:sldMk cId="2761666500" sldId="2147479478"/>
        </pc:sldMkLst>
        <pc:spChg chg="del">
          <ac:chgData name="Celeste Hsieh" userId="3c23dc7f-1c43-4092-97b9-786e61784316" providerId="ADAL" clId="{FB7F5F97-BFC2-4444-A5CE-2178AB72CEF5}" dt="2024-03-26T18:05:01.206" v="2158" actId="478"/>
          <ac:spMkLst>
            <pc:docMk/>
            <pc:sldMk cId="2761666500" sldId="2147479478"/>
            <ac:spMk id="5" creationId="{50F7BDEC-C309-8446-377D-363E5B294F1F}"/>
          </ac:spMkLst>
        </pc:spChg>
        <pc:spChg chg="add mod">
          <ac:chgData name="Celeste Hsieh" userId="3c23dc7f-1c43-4092-97b9-786e61784316" providerId="ADAL" clId="{FB7F5F97-BFC2-4444-A5CE-2178AB72CEF5}" dt="2024-03-26T18:05:01.588" v="2159"/>
          <ac:spMkLst>
            <pc:docMk/>
            <pc:sldMk cId="2761666500" sldId="2147479478"/>
            <ac:spMk id="6" creationId="{843B4713-84E8-7474-6897-958B7CBBF4E6}"/>
          </ac:spMkLst>
        </pc:spChg>
      </pc:sldChg>
      <pc:sldChg chg="addSp delSp mod">
        <pc:chgData name="Celeste Hsieh" userId="3c23dc7f-1c43-4092-97b9-786e61784316" providerId="ADAL" clId="{FB7F5F97-BFC2-4444-A5CE-2178AB72CEF5}" dt="2024-03-19T18:26:48.689" v="34" actId="22"/>
        <pc:sldMkLst>
          <pc:docMk/>
          <pc:sldMk cId="2619622909" sldId="2147479481"/>
        </pc:sldMkLst>
        <pc:picChg chg="add del">
          <ac:chgData name="Celeste Hsieh" userId="3c23dc7f-1c43-4092-97b9-786e61784316" providerId="ADAL" clId="{FB7F5F97-BFC2-4444-A5CE-2178AB72CEF5}" dt="2024-03-19T18:26:48.689" v="34" actId="22"/>
          <ac:picMkLst>
            <pc:docMk/>
            <pc:sldMk cId="2619622909" sldId="2147479481"/>
            <ac:picMk id="4" creationId="{FFAE2680-9285-B702-B3B7-94C49F38F5FE}"/>
          </ac:picMkLst>
        </pc:picChg>
      </pc:sldChg>
      <pc:sldChg chg="addSp delSp modSp">
        <pc:chgData name="Celeste Hsieh" userId="3c23dc7f-1c43-4092-97b9-786e61784316" providerId="ADAL" clId="{FB7F5F97-BFC2-4444-A5CE-2178AB72CEF5}" dt="2024-03-26T18:10:50.573" v="2198" actId="1076"/>
        <pc:sldMkLst>
          <pc:docMk/>
          <pc:sldMk cId="1858045540" sldId="2147479482"/>
        </pc:sldMkLst>
        <pc:spChg chg="add del mod">
          <ac:chgData name="Celeste Hsieh" userId="3c23dc7f-1c43-4092-97b9-786e61784316" providerId="ADAL" clId="{FB7F5F97-BFC2-4444-A5CE-2178AB72CEF5}" dt="2024-03-26T18:10:44.310" v="2196"/>
          <ac:spMkLst>
            <pc:docMk/>
            <pc:sldMk cId="1858045540" sldId="2147479482"/>
            <ac:spMk id="3" creationId="{8F61A01D-CC41-2781-95D2-9CBCE0BA3C95}"/>
          </ac:spMkLst>
        </pc:spChg>
        <pc:spChg chg="mod">
          <ac:chgData name="Celeste Hsieh" userId="3c23dc7f-1c43-4092-97b9-786e61784316" providerId="ADAL" clId="{FB7F5F97-BFC2-4444-A5CE-2178AB72CEF5}" dt="2024-03-26T18:10:50.573" v="2198" actId="1076"/>
          <ac:spMkLst>
            <pc:docMk/>
            <pc:sldMk cId="1858045540" sldId="2147479482"/>
            <ac:spMk id="4" creationId="{C887F2F0-5FD4-6B44-BF9D-793AF6BA4391}"/>
          </ac:spMkLst>
        </pc:spChg>
        <pc:spChg chg="add mod">
          <ac:chgData name="Celeste Hsieh" userId="3c23dc7f-1c43-4092-97b9-786e61784316" providerId="ADAL" clId="{FB7F5F97-BFC2-4444-A5CE-2178AB72CEF5}" dt="2024-03-26T18:10:45.864" v="2197"/>
          <ac:spMkLst>
            <pc:docMk/>
            <pc:sldMk cId="1858045540" sldId="2147479482"/>
            <ac:spMk id="5" creationId="{60E5F957-24F0-BF82-40A4-6C4C17EE7824}"/>
          </ac:spMkLst>
        </pc:spChg>
      </pc:sldChg>
      <pc:sldChg chg="addSp modSp modCm">
        <pc:chgData name="Celeste Hsieh" userId="3c23dc7f-1c43-4092-97b9-786e61784316" providerId="ADAL" clId="{FB7F5F97-BFC2-4444-A5CE-2178AB72CEF5}" dt="2024-03-26T18:04:02.338" v="2148"/>
        <pc:sldMkLst>
          <pc:docMk/>
          <pc:sldMk cId="1566014954" sldId="2147479483"/>
        </pc:sldMkLst>
        <pc:spChg chg="add mod">
          <ac:chgData name="Celeste Hsieh" userId="3c23dc7f-1c43-4092-97b9-786e61784316" providerId="ADAL" clId="{FB7F5F97-BFC2-4444-A5CE-2178AB72CEF5}" dt="2024-03-26T18:04:02.338" v="2148"/>
          <ac:spMkLst>
            <pc:docMk/>
            <pc:sldMk cId="1566014954" sldId="2147479483"/>
            <ac:spMk id="6" creationId="{9E5BC5AA-B70A-323B-62EF-15B7DCC695EE}"/>
          </ac:spMkLst>
        </pc:spChg>
      </pc:sldChg>
      <pc:sldChg chg="addSp delSp modSp">
        <pc:chgData name="Celeste Hsieh" userId="3c23dc7f-1c43-4092-97b9-786e61784316" providerId="ADAL" clId="{FB7F5F97-BFC2-4444-A5CE-2178AB72CEF5}" dt="2024-03-26T18:03:26.086" v="2142"/>
        <pc:sldMkLst>
          <pc:docMk/>
          <pc:sldMk cId="2853942534" sldId="2147482124"/>
        </pc:sldMkLst>
        <pc:spChg chg="add del mod">
          <ac:chgData name="Celeste Hsieh" userId="3c23dc7f-1c43-4092-97b9-786e61784316" providerId="ADAL" clId="{FB7F5F97-BFC2-4444-A5CE-2178AB72CEF5}" dt="2024-03-26T18:03:22.503" v="2141"/>
          <ac:spMkLst>
            <pc:docMk/>
            <pc:sldMk cId="2853942534" sldId="2147482124"/>
            <ac:spMk id="6" creationId="{06D35208-0E3F-7B44-0036-435FF345CC10}"/>
          </ac:spMkLst>
        </pc:spChg>
        <pc:spChg chg="add mod">
          <ac:chgData name="Celeste Hsieh" userId="3c23dc7f-1c43-4092-97b9-786e61784316" providerId="ADAL" clId="{FB7F5F97-BFC2-4444-A5CE-2178AB72CEF5}" dt="2024-03-26T18:03:26.086" v="2142"/>
          <ac:spMkLst>
            <pc:docMk/>
            <pc:sldMk cId="2853942534" sldId="2147482124"/>
            <ac:spMk id="8" creationId="{4023A4C8-BB23-0508-6A9C-7F16122CE29F}"/>
          </ac:spMkLst>
        </pc:spChg>
      </pc:sldChg>
      <pc:sldChg chg="addSp delSp modSp mod modShow addCm modCm">
        <pc:chgData name="Celeste Hsieh" userId="3c23dc7f-1c43-4092-97b9-786e61784316" providerId="ADAL" clId="{FB7F5F97-BFC2-4444-A5CE-2178AB72CEF5}" dt="2024-03-20T04:56:40.885" v="285"/>
        <pc:sldMkLst>
          <pc:docMk/>
          <pc:sldMk cId="1788471917" sldId="2147482125"/>
        </pc:sldMkLst>
        <pc:spChg chg="mod">
          <ac:chgData name="Celeste Hsieh" userId="3c23dc7f-1c43-4092-97b9-786e61784316" providerId="ADAL" clId="{FB7F5F97-BFC2-4444-A5CE-2178AB72CEF5}" dt="2024-03-20T03:26:20.715" v="236"/>
          <ac:spMkLst>
            <pc:docMk/>
            <pc:sldMk cId="1788471917" sldId="2147482125"/>
            <ac:spMk id="2" creationId="{5354029C-42F0-FEBB-4DA3-93088E7981AE}"/>
          </ac:spMkLst>
        </pc:spChg>
        <pc:spChg chg="add del">
          <ac:chgData name="Celeste Hsieh" userId="3c23dc7f-1c43-4092-97b9-786e61784316" providerId="ADAL" clId="{FB7F5F97-BFC2-4444-A5CE-2178AB72CEF5}" dt="2024-03-20T03:45:03.915" v="240" actId="22"/>
          <ac:spMkLst>
            <pc:docMk/>
            <pc:sldMk cId="1788471917" sldId="2147482125"/>
            <ac:spMk id="6" creationId="{44525BCA-AA3D-9F9C-2371-33D8C443FBD2}"/>
          </ac:spMkLst>
        </pc:spChg>
        <pc:picChg chg="del">
          <ac:chgData name="Celeste Hsieh" userId="3c23dc7f-1c43-4092-97b9-786e61784316" providerId="ADAL" clId="{FB7F5F97-BFC2-4444-A5CE-2178AB72CEF5}" dt="2024-03-20T03:44:50.340" v="238" actId="478"/>
          <ac:picMkLst>
            <pc:docMk/>
            <pc:sldMk cId="1788471917" sldId="2147482125"/>
            <ac:picMk id="7" creationId="{63C96AB4-57DB-65EE-1414-4CACEA598ADA}"/>
          </ac:picMkLst>
        </pc:picChg>
        <pc:picChg chg="add del mod">
          <ac:chgData name="Celeste Hsieh" userId="3c23dc7f-1c43-4092-97b9-786e61784316" providerId="ADAL" clId="{FB7F5F97-BFC2-4444-A5CE-2178AB72CEF5}" dt="2024-03-20T04:35:45.146" v="248" actId="478"/>
          <ac:picMkLst>
            <pc:docMk/>
            <pc:sldMk cId="1788471917" sldId="2147482125"/>
            <ac:picMk id="8" creationId="{EEA35A92-73F8-9191-8E11-E0F750601672}"/>
          </ac:picMkLst>
        </pc:picChg>
        <pc:picChg chg="add del mod">
          <ac:chgData name="Celeste Hsieh" userId="3c23dc7f-1c43-4092-97b9-786e61784316" providerId="ADAL" clId="{FB7F5F97-BFC2-4444-A5CE-2178AB72CEF5}" dt="2024-03-20T04:51:15.737" v="254" actId="478"/>
          <ac:picMkLst>
            <pc:docMk/>
            <pc:sldMk cId="1788471917" sldId="2147482125"/>
            <ac:picMk id="9" creationId="{DEA73031-6DA7-BA3E-9507-9B0FF0E3E54B}"/>
          </ac:picMkLst>
        </pc:picChg>
        <pc:picChg chg="add mod">
          <ac:chgData name="Celeste Hsieh" userId="3c23dc7f-1c43-4092-97b9-786e61784316" providerId="ADAL" clId="{FB7F5F97-BFC2-4444-A5CE-2178AB72CEF5}" dt="2024-03-20T04:51:22.295" v="258" actId="1076"/>
          <ac:picMkLst>
            <pc:docMk/>
            <pc:sldMk cId="1788471917" sldId="2147482125"/>
            <ac:picMk id="10" creationId="{57FDC9FE-B7AE-81EE-596B-72E3BDC6986A}"/>
          </ac:picMkLst>
        </pc:picChg>
        <pc:picChg chg="add mod">
          <ac:chgData name="Celeste Hsieh" userId="3c23dc7f-1c43-4092-97b9-786e61784316" providerId="ADAL" clId="{FB7F5F97-BFC2-4444-A5CE-2178AB72CEF5}" dt="2024-03-20T04:54:57.275" v="274"/>
          <ac:picMkLst>
            <pc:docMk/>
            <pc:sldMk cId="1788471917" sldId="2147482125"/>
            <ac:picMk id="11" creationId="{F577A506-51C0-A819-A07E-B2107900CADA}"/>
          </ac:picMkLst>
        </pc:picChg>
      </pc:sldChg>
      <pc:sldChg chg="addSp delSp modSp add del mod addCm modCm">
        <pc:chgData name="Celeste Hsieh" userId="3c23dc7f-1c43-4092-97b9-786e61784316" providerId="ADAL" clId="{FB7F5F97-BFC2-4444-A5CE-2178AB72CEF5}" dt="2024-03-20T05:05:35.450" v="290"/>
        <pc:sldMkLst>
          <pc:docMk/>
          <pc:sldMk cId="2340784022" sldId="2147482126"/>
        </pc:sldMkLst>
        <pc:picChg chg="add del mod">
          <ac:chgData name="Celeste Hsieh" userId="3c23dc7f-1c43-4092-97b9-786e61784316" providerId="ADAL" clId="{FB7F5F97-BFC2-4444-A5CE-2178AB72CEF5}" dt="2024-03-20T04:53:24.017" v="262" actId="478"/>
          <ac:picMkLst>
            <pc:docMk/>
            <pc:sldMk cId="2340784022" sldId="2147482126"/>
            <ac:picMk id="3" creationId="{07B12FAA-18C0-3F63-7BA0-AB4CD0D646BD}"/>
          </ac:picMkLst>
        </pc:picChg>
        <pc:picChg chg="add del mod">
          <ac:chgData name="Celeste Hsieh" userId="3c23dc7f-1c43-4092-97b9-786e61784316" providerId="ADAL" clId="{FB7F5F97-BFC2-4444-A5CE-2178AB72CEF5}" dt="2024-03-20T04:54:37.506" v="270" actId="478"/>
          <ac:picMkLst>
            <pc:docMk/>
            <pc:sldMk cId="2340784022" sldId="2147482126"/>
            <ac:picMk id="6" creationId="{C20EE628-DD33-E90E-FF39-454CA5C1AB35}"/>
          </ac:picMkLst>
        </pc:picChg>
        <pc:picChg chg="add mod">
          <ac:chgData name="Celeste Hsieh" userId="3c23dc7f-1c43-4092-97b9-786e61784316" providerId="ADAL" clId="{FB7F5F97-BFC2-4444-A5CE-2178AB72CEF5}" dt="2024-03-20T05:04:51.773" v="289" actId="14100"/>
          <ac:picMkLst>
            <pc:docMk/>
            <pc:sldMk cId="2340784022" sldId="2147482126"/>
            <ac:picMk id="7" creationId="{8D54E32E-6432-6BE0-8525-0D5D37156DB6}"/>
          </ac:picMkLst>
        </pc:picChg>
        <pc:picChg chg="del">
          <ac:chgData name="Celeste Hsieh" userId="3c23dc7f-1c43-4092-97b9-786e61784316" providerId="ADAL" clId="{FB7F5F97-BFC2-4444-A5CE-2178AB72CEF5}" dt="2024-03-19T22:47:03.231" v="228" actId="478"/>
          <ac:picMkLst>
            <pc:docMk/>
            <pc:sldMk cId="2340784022" sldId="2147482126"/>
            <ac:picMk id="7" creationId="{BB688E51-17C9-1B90-D840-BC97D8BD323E}"/>
          </ac:picMkLst>
        </pc:picChg>
      </pc:sldChg>
      <pc:sldChg chg="del addCm modCm">
        <pc:chgData name="Celeste Hsieh" userId="3c23dc7f-1c43-4092-97b9-786e61784316" providerId="ADAL" clId="{FB7F5F97-BFC2-4444-A5CE-2178AB72CEF5}" dt="2024-03-26T21:46:14.604" v="2283" actId="47"/>
        <pc:sldMkLst>
          <pc:docMk/>
          <pc:sldMk cId="2962612111" sldId="2147482127"/>
        </pc:sldMkLst>
      </pc:sldChg>
      <pc:sldChg chg="modSp mod">
        <pc:chgData name="Celeste Hsieh" userId="3c23dc7f-1c43-4092-97b9-786e61784316" providerId="ADAL" clId="{FB7F5F97-BFC2-4444-A5CE-2178AB72CEF5}" dt="2024-03-19T19:45:27.998" v="209" actId="20577"/>
        <pc:sldMkLst>
          <pc:docMk/>
          <pc:sldMk cId="3450164358" sldId="2147482128"/>
        </pc:sldMkLst>
        <pc:graphicFrameChg chg="modGraphic">
          <ac:chgData name="Celeste Hsieh" userId="3c23dc7f-1c43-4092-97b9-786e61784316" providerId="ADAL" clId="{FB7F5F97-BFC2-4444-A5CE-2178AB72CEF5}" dt="2024-03-19T19:45:27.998" v="209" actId="20577"/>
          <ac:graphicFrameMkLst>
            <pc:docMk/>
            <pc:sldMk cId="3450164358" sldId="2147482128"/>
            <ac:graphicFrameMk id="4" creationId="{BE38E089-BBF7-5339-EF73-F68B7686C21D}"/>
          </ac:graphicFrameMkLst>
        </pc:graphicFrameChg>
      </pc:sldChg>
      <pc:sldChg chg="addSp modSp">
        <pc:chgData name="Celeste Hsieh" userId="3c23dc7f-1c43-4092-97b9-786e61784316" providerId="ADAL" clId="{FB7F5F97-BFC2-4444-A5CE-2178AB72CEF5}" dt="2024-03-26T18:08:18.312" v="2166" actId="14100"/>
        <pc:sldMkLst>
          <pc:docMk/>
          <pc:sldMk cId="322481365" sldId="2147482129"/>
        </pc:sldMkLst>
        <pc:spChg chg="add mod">
          <ac:chgData name="Celeste Hsieh" userId="3c23dc7f-1c43-4092-97b9-786e61784316" providerId="ADAL" clId="{FB7F5F97-BFC2-4444-A5CE-2178AB72CEF5}" dt="2024-03-26T18:08:13.380" v="2165"/>
          <ac:spMkLst>
            <pc:docMk/>
            <pc:sldMk cId="322481365" sldId="2147482129"/>
            <ac:spMk id="4" creationId="{49009976-D843-53BA-8D2A-E24C283F32EA}"/>
          </ac:spMkLst>
        </pc:spChg>
        <pc:spChg chg="mod">
          <ac:chgData name="Celeste Hsieh" userId="3c23dc7f-1c43-4092-97b9-786e61784316" providerId="ADAL" clId="{FB7F5F97-BFC2-4444-A5CE-2178AB72CEF5}" dt="2024-03-26T18:08:18.312" v="2166" actId="14100"/>
          <ac:spMkLst>
            <pc:docMk/>
            <pc:sldMk cId="322481365" sldId="2147482129"/>
            <ac:spMk id="19" creationId="{7BD13D88-0FF3-685E-0BE9-978E91471CAB}"/>
          </ac:spMkLst>
        </pc:spChg>
      </pc:sldChg>
      <pc:sldChg chg="addSp delSp modSp mod">
        <pc:chgData name="Celeste Hsieh" userId="3c23dc7f-1c43-4092-97b9-786e61784316" providerId="ADAL" clId="{FB7F5F97-BFC2-4444-A5CE-2178AB72CEF5}" dt="2024-03-26T18:03:53.324" v="2146"/>
        <pc:sldMkLst>
          <pc:docMk/>
          <pc:sldMk cId="3407814504" sldId="2147482130"/>
        </pc:sldMkLst>
        <pc:spChg chg="add mod">
          <ac:chgData name="Celeste Hsieh" userId="3c23dc7f-1c43-4092-97b9-786e61784316" providerId="ADAL" clId="{FB7F5F97-BFC2-4444-A5CE-2178AB72CEF5}" dt="2024-03-26T18:03:53.324" v="2146"/>
          <ac:spMkLst>
            <pc:docMk/>
            <pc:sldMk cId="3407814504" sldId="2147482130"/>
            <ac:spMk id="2" creationId="{799A07E3-837A-C468-4205-E6A3E394E0C9}"/>
          </ac:spMkLst>
        </pc:spChg>
        <pc:spChg chg="del">
          <ac:chgData name="Celeste Hsieh" userId="3c23dc7f-1c43-4092-97b9-786e61784316" providerId="ADAL" clId="{FB7F5F97-BFC2-4444-A5CE-2178AB72CEF5}" dt="2024-03-25T21:32:28.380" v="634" actId="478"/>
          <ac:spMkLst>
            <pc:docMk/>
            <pc:sldMk cId="3407814504" sldId="2147482130"/>
            <ac:spMk id="5" creationId="{BBA0BE4F-05FB-0F71-466C-691697317170}"/>
          </ac:spMkLst>
        </pc:spChg>
        <pc:spChg chg="mod">
          <ac:chgData name="Celeste Hsieh" userId="3c23dc7f-1c43-4092-97b9-786e61784316" providerId="ADAL" clId="{FB7F5F97-BFC2-4444-A5CE-2178AB72CEF5}" dt="2024-03-25T21:32:45.373" v="714" actId="20577"/>
          <ac:spMkLst>
            <pc:docMk/>
            <pc:sldMk cId="3407814504" sldId="2147482130"/>
            <ac:spMk id="9" creationId="{58C85E7D-509B-FD88-AB7F-74F76DADAC46}"/>
          </ac:spMkLst>
        </pc:spChg>
        <pc:spChg chg="mod">
          <ac:chgData name="Celeste Hsieh" userId="3c23dc7f-1c43-4092-97b9-786e61784316" providerId="ADAL" clId="{FB7F5F97-BFC2-4444-A5CE-2178AB72CEF5}" dt="2024-03-25T21:34:30.360" v="862" actId="14"/>
          <ac:spMkLst>
            <pc:docMk/>
            <pc:sldMk cId="3407814504" sldId="2147482130"/>
            <ac:spMk id="10" creationId="{EB19EFDB-B495-5E2D-8C0F-A4CD4799D8B2}"/>
          </ac:spMkLst>
        </pc:spChg>
      </pc:sldChg>
      <pc:sldChg chg="addSp delSp modSp add del mod">
        <pc:chgData name="Celeste Hsieh" userId="3c23dc7f-1c43-4092-97b9-786e61784316" providerId="ADAL" clId="{FB7F5F97-BFC2-4444-A5CE-2178AB72CEF5}" dt="2024-03-19T19:09:02.767" v="155" actId="47"/>
        <pc:sldMkLst>
          <pc:docMk/>
          <pc:sldMk cId="1777127511" sldId="2147482136"/>
        </pc:sldMkLst>
        <pc:spChg chg="del mod">
          <ac:chgData name="Celeste Hsieh" userId="3c23dc7f-1c43-4092-97b9-786e61784316" providerId="ADAL" clId="{FB7F5F97-BFC2-4444-A5CE-2178AB72CEF5}" dt="2024-03-19T19:08:53.700" v="153" actId="478"/>
          <ac:spMkLst>
            <pc:docMk/>
            <pc:sldMk cId="1777127511" sldId="2147482136"/>
            <ac:spMk id="2" creationId="{3D321EFC-5E8A-9953-7B24-8FEBE70A13E4}"/>
          </ac:spMkLst>
        </pc:spChg>
        <pc:spChg chg="add mod">
          <ac:chgData name="Celeste Hsieh" userId="3c23dc7f-1c43-4092-97b9-786e61784316" providerId="ADAL" clId="{FB7F5F97-BFC2-4444-A5CE-2178AB72CEF5}" dt="2024-03-19T19:08:53.700" v="153" actId="478"/>
          <ac:spMkLst>
            <pc:docMk/>
            <pc:sldMk cId="1777127511" sldId="2147482136"/>
            <ac:spMk id="4" creationId="{B4AA3F59-8737-867A-370F-AF8C82DFE169}"/>
          </ac:spMkLst>
        </pc:spChg>
      </pc:sldChg>
      <pc:sldChg chg="addSp delSp modSp add mod modShow addCm modCm">
        <pc:chgData name="Celeste Hsieh" userId="3c23dc7f-1c43-4092-97b9-786e61784316" providerId="ADAL" clId="{FB7F5F97-BFC2-4444-A5CE-2178AB72CEF5}" dt="2024-03-20T16:46:04.104" v="352" actId="729"/>
        <pc:sldMkLst>
          <pc:docMk/>
          <pc:sldMk cId="3212070676" sldId="2147482137"/>
        </pc:sldMkLst>
        <pc:spChg chg="mod">
          <ac:chgData name="Celeste Hsieh" userId="3c23dc7f-1c43-4092-97b9-786e61784316" providerId="ADAL" clId="{FB7F5F97-BFC2-4444-A5CE-2178AB72CEF5}" dt="2024-03-19T19:09:19.360" v="188" actId="20577"/>
          <ac:spMkLst>
            <pc:docMk/>
            <pc:sldMk cId="3212070676" sldId="2147482137"/>
            <ac:spMk id="2" creationId="{5354029C-42F0-FEBB-4DA3-93088E7981AE}"/>
          </ac:spMkLst>
        </pc:spChg>
        <pc:picChg chg="add mod">
          <ac:chgData name="Celeste Hsieh" userId="3c23dc7f-1c43-4092-97b9-786e61784316" providerId="ADAL" clId="{FB7F5F97-BFC2-4444-A5CE-2178AB72CEF5}" dt="2024-03-19T22:27:00.823" v="213" actId="1076"/>
          <ac:picMkLst>
            <pc:docMk/>
            <pc:sldMk cId="3212070676" sldId="2147482137"/>
            <ac:picMk id="3" creationId="{2E7B8D04-E66F-8513-7C66-93661F59BCCE}"/>
          </ac:picMkLst>
        </pc:picChg>
        <pc:picChg chg="add del mod">
          <ac:chgData name="Celeste Hsieh" userId="3c23dc7f-1c43-4092-97b9-786e61784316" providerId="ADAL" clId="{FB7F5F97-BFC2-4444-A5CE-2178AB72CEF5}" dt="2024-03-19T19:43:13.779" v="197" actId="478"/>
          <ac:picMkLst>
            <pc:docMk/>
            <pc:sldMk cId="3212070676" sldId="2147482137"/>
            <ac:picMk id="3" creationId="{A9C4C49C-CF74-0A0E-4127-CA4DE09C7114}"/>
          </ac:picMkLst>
        </pc:picChg>
        <pc:picChg chg="add del mod">
          <ac:chgData name="Celeste Hsieh" userId="3c23dc7f-1c43-4092-97b9-786e61784316" providerId="ADAL" clId="{FB7F5F97-BFC2-4444-A5CE-2178AB72CEF5}" dt="2024-03-19T22:26:54.672" v="210" actId="478"/>
          <ac:picMkLst>
            <pc:docMk/>
            <pc:sldMk cId="3212070676" sldId="2147482137"/>
            <ac:picMk id="6" creationId="{C48F17FE-F5C6-5312-80B5-4BC1944C8C09}"/>
          </ac:picMkLst>
        </pc:picChg>
        <pc:picChg chg="del">
          <ac:chgData name="Celeste Hsieh" userId="3c23dc7f-1c43-4092-97b9-786e61784316" providerId="ADAL" clId="{FB7F5F97-BFC2-4444-A5CE-2178AB72CEF5}" dt="2024-03-19T19:09:04.274" v="156" actId="478"/>
          <ac:picMkLst>
            <pc:docMk/>
            <pc:sldMk cId="3212070676" sldId="2147482137"/>
            <ac:picMk id="7" creationId="{63C96AB4-57DB-65EE-1414-4CACEA598ADA}"/>
          </ac:picMkLst>
        </pc:picChg>
      </pc:sldChg>
      <pc:sldChg chg="addSp delSp modSp">
        <pc:chgData name="Celeste Hsieh" userId="3c23dc7f-1c43-4092-97b9-786e61784316" providerId="ADAL" clId="{FB7F5F97-BFC2-4444-A5CE-2178AB72CEF5}" dt="2024-03-26T18:08:46.354" v="2172"/>
        <pc:sldMkLst>
          <pc:docMk/>
          <pc:sldMk cId="2262082012" sldId="2147482138"/>
        </pc:sldMkLst>
        <pc:spChg chg="add del mod">
          <ac:chgData name="Celeste Hsieh" userId="3c23dc7f-1c43-4092-97b9-786e61784316" providerId="ADAL" clId="{FB7F5F97-BFC2-4444-A5CE-2178AB72CEF5}" dt="2024-03-26T18:08:44.746" v="2171"/>
          <ac:spMkLst>
            <pc:docMk/>
            <pc:sldMk cId="2262082012" sldId="2147482138"/>
            <ac:spMk id="4" creationId="{272656C2-3716-A831-8144-9138BDE50623}"/>
          </ac:spMkLst>
        </pc:spChg>
        <pc:spChg chg="add mod">
          <ac:chgData name="Celeste Hsieh" userId="3c23dc7f-1c43-4092-97b9-786e61784316" providerId="ADAL" clId="{FB7F5F97-BFC2-4444-A5CE-2178AB72CEF5}" dt="2024-03-26T18:08:46.354" v="2172"/>
          <ac:spMkLst>
            <pc:docMk/>
            <pc:sldMk cId="2262082012" sldId="2147482138"/>
            <ac:spMk id="5" creationId="{647251AF-70D3-3D23-8D90-4308F93FCBB8}"/>
          </ac:spMkLst>
        </pc:spChg>
      </pc:sldChg>
      <pc:sldChg chg="addSp delSp modSp add del mod modCm">
        <pc:chgData name="Celeste Hsieh" userId="3c23dc7f-1c43-4092-97b9-786e61784316" providerId="ADAL" clId="{FB7F5F97-BFC2-4444-A5CE-2178AB72CEF5}" dt="2024-03-20T04:52:47.963" v="261" actId="47"/>
        <pc:sldMkLst>
          <pc:docMk/>
          <pc:sldMk cId="609575873" sldId="2147482139"/>
        </pc:sldMkLst>
        <pc:picChg chg="add del mod">
          <ac:chgData name="Celeste Hsieh" userId="3c23dc7f-1c43-4092-97b9-786e61784316" providerId="ADAL" clId="{FB7F5F97-BFC2-4444-A5CE-2178AB72CEF5}" dt="2024-03-20T04:52:44.376" v="259" actId="478"/>
          <ac:picMkLst>
            <pc:docMk/>
            <pc:sldMk cId="609575873" sldId="2147482139"/>
            <ac:picMk id="3" creationId="{D76CFA2C-0CCC-4A78-B37A-51DED8200D8B}"/>
          </ac:picMkLst>
        </pc:picChg>
        <pc:picChg chg="add mod">
          <ac:chgData name="Celeste Hsieh" userId="3c23dc7f-1c43-4092-97b9-786e61784316" providerId="ADAL" clId="{FB7F5F97-BFC2-4444-A5CE-2178AB72CEF5}" dt="2024-03-20T04:52:44.992" v="260"/>
          <ac:picMkLst>
            <pc:docMk/>
            <pc:sldMk cId="609575873" sldId="2147482139"/>
            <ac:picMk id="6" creationId="{D04423B6-6AFB-F71D-8E64-55380132CD4A}"/>
          </ac:picMkLst>
        </pc:picChg>
        <pc:picChg chg="del">
          <ac:chgData name="Celeste Hsieh" userId="3c23dc7f-1c43-4092-97b9-786e61784316" providerId="ADAL" clId="{FB7F5F97-BFC2-4444-A5CE-2178AB72CEF5}" dt="2024-03-19T22:27:41.950" v="216" actId="478"/>
          <ac:picMkLst>
            <pc:docMk/>
            <pc:sldMk cId="609575873" sldId="2147482139"/>
            <ac:picMk id="7" creationId="{63C96AB4-57DB-65EE-1414-4CACEA598ADA}"/>
          </ac:picMkLst>
        </pc:picChg>
      </pc:sldChg>
      <pc:sldChg chg="addSp delSp modSp">
        <pc:chgData name="Celeste Hsieh" userId="3c23dc7f-1c43-4092-97b9-786e61784316" providerId="ADAL" clId="{FB7F5F97-BFC2-4444-A5CE-2178AB72CEF5}" dt="2024-03-26T18:09:31.100" v="2180"/>
        <pc:sldMkLst>
          <pc:docMk/>
          <pc:sldMk cId="1250735742" sldId="2147482140"/>
        </pc:sldMkLst>
        <pc:spChg chg="add del mod">
          <ac:chgData name="Celeste Hsieh" userId="3c23dc7f-1c43-4092-97b9-786e61784316" providerId="ADAL" clId="{FB7F5F97-BFC2-4444-A5CE-2178AB72CEF5}" dt="2024-03-26T18:09:29.538" v="2179"/>
          <ac:spMkLst>
            <pc:docMk/>
            <pc:sldMk cId="1250735742" sldId="2147482140"/>
            <ac:spMk id="7" creationId="{7AA54FAE-6EF2-1CE5-2C98-FA3CA6607F48}"/>
          </ac:spMkLst>
        </pc:spChg>
        <pc:spChg chg="add mod">
          <ac:chgData name="Celeste Hsieh" userId="3c23dc7f-1c43-4092-97b9-786e61784316" providerId="ADAL" clId="{FB7F5F97-BFC2-4444-A5CE-2178AB72CEF5}" dt="2024-03-26T18:09:31.100" v="2180"/>
          <ac:spMkLst>
            <pc:docMk/>
            <pc:sldMk cId="1250735742" sldId="2147482140"/>
            <ac:spMk id="8" creationId="{E1D4085A-2DEE-D56D-3A70-5A9E633C44D7}"/>
          </ac:spMkLst>
        </pc:spChg>
      </pc:sldChg>
      <pc:sldChg chg="addSp delSp modSp add del mod">
        <pc:chgData name="Celeste Hsieh" userId="3c23dc7f-1c43-4092-97b9-786e61784316" providerId="ADAL" clId="{FB7F5F97-BFC2-4444-A5CE-2178AB72CEF5}" dt="2024-03-26T21:46:05.883" v="2281" actId="47"/>
        <pc:sldMkLst>
          <pc:docMk/>
          <pc:sldMk cId="2807046771" sldId="2147482141"/>
        </pc:sldMkLst>
        <pc:grpChg chg="del">
          <ac:chgData name="Celeste Hsieh" userId="3c23dc7f-1c43-4092-97b9-786e61784316" providerId="ADAL" clId="{FB7F5F97-BFC2-4444-A5CE-2178AB72CEF5}" dt="2024-03-20T16:07:14.783" v="292" actId="478"/>
          <ac:grpSpMkLst>
            <pc:docMk/>
            <pc:sldMk cId="2807046771" sldId="2147482141"/>
            <ac:grpSpMk id="7" creationId="{C9993426-E9B7-4BCC-89BD-3968C9C439BE}"/>
          </ac:grpSpMkLst>
        </pc:grpChg>
        <pc:picChg chg="add del mod modCrop">
          <ac:chgData name="Celeste Hsieh" userId="3c23dc7f-1c43-4092-97b9-786e61784316" providerId="ADAL" clId="{FB7F5F97-BFC2-4444-A5CE-2178AB72CEF5}" dt="2024-03-20T16:28:11.474" v="333" actId="478"/>
          <ac:picMkLst>
            <pc:docMk/>
            <pc:sldMk cId="2807046771" sldId="2147482141"/>
            <ac:picMk id="8" creationId="{CE5AEEC7-5987-9ECB-2D0A-05BB6215B906}"/>
          </ac:picMkLst>
        </pc:picChg>
        <pc:picChg chg="add mod modCrop">
          <ac:chgData name="Celeste Hsieh" userId="3c23dc7f-1c43-4092-97b9-786e61784316" providerId="ADAL" clId="{FB7F5F97-BFC2-4444-A5CE-2178AB72CEF5}" dt="2024-03-20T16:37:36.361" v="346" actId="732"/>
          <ac:picMkLst>
            <pc:docMk/>
            <pc:sldMk cId="2807046771" sldId="2147482141"/>
            <ac:picMk id="9" creationId="{0293F3EC-D70F-EB83-1500-DE6587B20ED9}"/>
          </ac:picMkLst>
        </pc:picChg>
      </pc:sldChg>
      <pc:sldChg chg="addSp delSp modSp new mod addCm">
        <pc:chgData name="Celeste Hsieh" userId="3c23dc7f-1c43-4092-97b9-786e61784316" providerId="ADAL" clId="{FB7F5F97-BFC2-4444-A5CE-2178AB72CEF5}" dt="2024-03-20T04:56:30.567" v="284"/>
        <pc:sldMkLst>
          <pc:docMk/>
          <pc:sldMk cId="3907199515" sldId="2147482141"/>
        </pc:sldMkLst>
        <pc:spChg chg="del">
          <ac:chgData name="Celeste Hsieh" userId="3c23dc7f-1c43-4092-97b9-786e61784316" providerId="ADAL" clId="{FB7F5F97-BFC2-4444-A5CE-2178AB72CEF5}" dt="2024-03-20T04:55:16.256" v="278" actId="478"/>
          <ac:spMkLst>
            <pc:docMk/>
            <pc:sldMk cId="3907199515" sldId="2147482141"/>
            <ac:spMk id="2" creationId="{40767E20-7D91-E14C-C570-BA446272350E}"/>
          </ac:spMkLst>
        </pc:spChg>
        <pc:spChg chg="del">
          <ac:chgData name="Celeste Hsieh" userId="3c23dc7f-1c43-4092-97b9-786e61784316" providerId="ADAL" clId="{FB7F5F97-BFC2-4444-A5CE-2178AB72CEF5}" dt="2024-03-20T04:55:30.444" v="283" actId="478"/>
          <ac:spMkLst>
            <pc:docMk/>
            <pc:sldMk cId="3907199515" sldId="2147482141"/>
            <ac:spMk id="3" creationId="{32E0BA30-927D-3478-3156-2C35D9C9DCE2}"/>
          </ac:spMkLst>
        </pc:spChg>
        <pc:spChg chg="add mod">
          <ac:chgData name="Celeste Hsieh" userId="3c23dc7f-1c43-4092-97b9-786e61784316" providerId="ADAL" clId="{FB7F5F97-BFC2-4444-A5CE-2178AB72CEF5}" dt="2024-03-20T04:55:16.521" v="279"/>
          <ac:spMkLst>
            <pc:docMk/>
            <pc:sldMk cId="3907199515" sldId="2147482141"/>
            <ac:spMk id="6" creationId="{766DE38D-B2D3-6869-530D-196A6AC543CB}"/>
          </ac:spMkLst>
        </pc:spChg>
        <pc:picChg chg="add mod">
          <ac:chgData name="Celeste Hsieh" userId="3c23dc7f-1c43-4092-97b9-786e61784316" providerId="ADAL" clId="{FB7F5F97-BFC2-4444-A5CE-2178AB72CEF5}" dt="2024-03-20T04:55:27.238" v="282" actId="14100"/>
          <ac:picMkLst>
            <pc:docMk/>
            <pc:sldMk cId="3907199515" sldId="2147482141"/>
            <ac:picMk id="5" creationId="{4FEEC3E4-6E7F-5496-DBBA-C03F6B100341}"/>
          </ac:picMkLst>
        </pc:picChg>
      </pc:sldChg>
      <pc:sldChg chg="modSp mod addCm delCm modCm">
        <pc:chgData name="Celeste Hsieh" userId="3c23dc7f-1c43-4092-97b9-786e61784316" providerId="ADAL" clId="{FB7F5F97-BFC2-4444-A5CE-2178AB72CEF5}" dt="2024-03-26T21:45:21.308" v="2268"/>
        <pc:sldMkLst>
          <pc:docMk/>
          <pc:sldMk cId="2837651119" sldId="2147482142"/>
        </pc:sldMkLst>
        <pc:spChg chg="mod">
          <ac:chgData name="Celeste Hsieh" userId="3c23dc7f-1c43-4092-97b9-786e61784316" providerId="ADAL" clId="{FB7F5F97-BFC2-4444-A5CE-2178AB72CEF5}" dt="2024-03-26T18:01:48.258" v="2133" actId="20577"/>
          <ac:spMkLst>
            <pc:docMk/>
            <pc:sldMk cId="2837651119" sldId="2147482142"/>
            <ac:spMk id="3" creationId="{7D836601-6754-9347-8E4F-019A9E8569EC}"/>
          </ac:spMkLst>
        </pc:spChg>
      </pc:sldChg>
      <pc:sldChg chg="del">
        <pc:chgData name="Celeste Hsieh" userId="3c23dc7f-1c43-4092-97b9-786e61784316" providerId="ADAL" clId="{FB7F5F97-BFC2-4444-A5CE-2178AB72CEF5}" dt="2024-03-26T21:50:18.815" v="2339" actId="47"/>
        <pc:sldMkLst>
          <pc:docMk/>
          <pc:sldMk cId="3149000909" sldId="2147482143"/>
        </pc:sldMkLst>
      </pc:sldChg>
      <pc:sldChg chg="addSp modSp mod">
        <pc:chgData name="Celeste Hsieh" userId="3c23dc7f-1c43-4092-97b9-786e61784316" providerId="ADAL" clId="{FB7F5F97-BFC2-4444-A5CE-2178AB72CEF5}" dt="2024-03-26T18:10:21.272" v="2190" actId="1076"/>
        <pc:sldMkLst>
          <pc:docMk/>
          <pc:sldMk cId="361833081" sldId="2147482145"/>
        </pc:sldMkLst>
        <pc:spChg chg="mod">
          <ac:chgData name="Celeste Hsieh" userId="3c23dc7f-1c43-4092-97b9-786e61784316" providerId="ADAL" clId="{FB7F5F97-BFC2-4444-A5CE-2178AB72CEF5}" dt="2024-03-26T18:10:21.272" v="2190" actId="1076"/>
          <ac:spMkLst>
            <pc:docMk/>
            <pc:sldMk cId="361833081" sldId="2147482145"/>
            <ac:spMk id="2" creationId="{D132E6B5-E485-60D5-5F30-E987FCBD1CD8}"/>
          </ac:spMkLst>
        </pc:spChg>
        <pc:spChg chg="add mod">
          <ac:chgData name="Celeste Hsieh" userId="3c23dc7f-1c43-4092-97b9-786e61784316" providerId="ADAL" clId="{FB7F5F97-BFC2-4444-A5CE-2178AB72CEF5}" dt="2024-03-26T18:10:18.084" v="2189"/>
          <ac:spMkLst>
            <pc:docMk/>
            <pc:sldMk cId="361833081" sldId="2147482145"/>
            <ac:spMk id="3" creationId="{5898BD80-01F8-5133-3237-8BD9714F834A}"/>
          </ac:spMkLst>
        </pc:spChg>
      </pc:sldChg>
      <pc:sldChg chg="addSp delSp modSp mod delCm modCm">
        <pc:chgData name="Celeste Hsieh" userId="3c23dc7f-1c43-4092-97b9-786e61784316" providerId="ADAL" clId="{FB7F5F97-BFC2-4444-A5CE-2178AB72CEF5}" dt="2024-03-26T21:49:47.463" v="2334"/>
        <pc:sldMkLst>
          <pc:docMk/>
          <pc:sldMk cId="1685824701" sldId="2147482146"/>
        </pc:sldMkLst>
        <pc:spChg chg="add del mod">
          <ac:chgData name="Celeste Hsieh" userId="3c23dc7f-1c43-4092-97b9-786e61784316" providerId="ADAL" clId="{FB7F5F97-BFC2-4444-A5CE-2178AB72CEF5}" dt="2024-03-26T18:08:52.125" v="2174"/>
          <ac:spMkLst>
            <pc:docMk/>
            <pc:sldMk cId="1685824701" sldId="2147482146"/>
            <ac:spMk id="2" creationId="{333EE31F-497F-51D4-510B-9D30D6B1507D}"/>
          </ac:spMkLst>
        </pc:spChg>
        <pc:spChg chg="mod">
          <ac:chgData name="Celeste Hsieh" userId="3c23dc7f-1c43-4092-97b9-786e61784316" providerId="ADAL" clId="{FB7F5F97-BFC2-4444-A5CE-2178AB72CEF5}" dt="2024-03-26T18:09:03.227" v="2177" actId="1076"/>
          <ac:spMkLst>
            <pc:docMk/>
            <pc:sldMk cId="1685824701" sldId="2147482146"/>
            <ac:spMk id="4" creationId="{3C82F452-0863-3B4E-85D1-65B2DFF1618C}"/>
          </ac:spMkLst>
        </pc:spChg>
        <pc:spChg chg="add mod">
          <ac:chgData name="Celeste Hsieh" userId="3c23dc7f-1c43-4092-97b9-786e61784316" providerId="ADAL" clId="{FB7F5F97-BFC2-4444-A5CE-2178AB72CEF5}" dt="2024-03-26T18:08:54.016" v="2175"/>
          <ac:spMkLst>
            <pc:docMk/>
            <pc:sldMk cId="1685824701" sldId="2147482146"/>
            <ac:spMk id="5" creationId="{5B450D84-C9A0-F36F-B851-97D9039CE75C}"/>
          </ac:spMkLst>
        </pc:spChg>
      </pc:sldChg>
      <pc:sldChg chg="modCm">
        <pc:chgData name="Celeste Hsieh" userId="3c23dc7f-1c43-4092-97b9-786e61784316" providerId="ADAL" clId="{FB7F5F97-BFC2-4444-A5CE-2178AB72CEF5}" dt="2024-03-26T21:48:47.741" v="2327"/>
        <pc:sldMkLst>
          <pc:docMk/>
          <pc:sldMk cId="3823604198" sldId="2147482147"/>
        </pc:sldMkLst>
      </pc:sldChg>
      <pc:sldChg chg="del mod modShow">
        <pc:chgData name="Celeste Hsieh" userId="3c23dc7f-1c43-4092-97b9-786e61784316" providerId="ADAL" clId="{FB7F5F97-BFC2-4444-A5CE-2178AB72CEF5}" dt="2024-03-26T21:48:03.499" v="2312" actId="47"/>
        <pc:sldMkLst>
          <pc:docMk/>
          <pc:sldMk cId="2433446030" sldId="2147482148"/>
        </pc:sldMkLst>
      </pc:sldChg>
      <pc:sldChg chg="addSp delSp modSp mod addCm delCm modCm">
        <pc:chgData name="Celeste Hsieh" userId="3c23dc7f-1c43-4092-97b9-786e61784316" providerId="ADAL" clId="{FB7F5F97-BFC2-4444-A5CE-2178AB72CEF5}" dt="2024-03-26T21:48:17.841" v="2317"/>
        <pc:sldMkLst>
          <pc:docMk/>
          <pc:sldMk cId="1832365024" sldId="2147482149"/>
        </pc:sldMkLst>
        <pc:spChg chg="add mod">
          <ac:chgData name="Celeste Hsieh" userId="3c23dc7f-1c43-4092-97b9-786e61784316" providerId="ADAL" clId="{FB7F5F97-BFC2-4444-A5CE-2178AB72CEF5}" dt="2024-03-26T18:05:11.120" v="2160"/>
          <ac:spMkLst>
            <pc:docMk/>
            <pc:sldMk cId="1832365024" sldId="2147482149"/>
            <ac:spMk id="3" creationId="{293F5D90-6AE4-4075-B707-5CCE8CBC3F16}"/>
          </ac:spMkLst>
        </pc:spChg>
        <pc:spChg chg="del mod">
          <ac:chgData name="Celeste Hsieh" userId="3c23dc7f-1c43-4092-97b9-786e61784316" providerId="ADAL" clId="{FB7F5F97-BFC2-4444-A5CE-2178AB72CEF5}" dt="2024-03-25T21:50:51.644" v="1070"/>
          <ac:spMkLst>
            <pc:docMk/>
            <pc:sldMk cId="1832365024" sldId="2147482149"/>
            <ac:spMk id="8244" creationId="{86C8A8A6-5BED-F37E-B3D9-A9F6E2CF19F6}"/>
          </ac:spMkLst>
        </pc:spChg>
        <pc:spChg chg="del mod">
          <ac:chgData name="Celeste Hsieh" userId="3c23dc7f-1c43-4092-97b9-786e61784316" providerId="ADAL" clId="{FB7F5F97-BFC2-4444-A5CE-2178AB72CEF5}" dt="2024-03-25T21:50:51.645" v="1072"/>
          <ac:spMkLst>
            <pc:docMk/>
            <pc:sldMk cId="1832365024" sldId="2147482149"/>
            <ac:spMk id="8246" creationId="{1D71CDE3-52FA-EA8D-8301-2C2CA0CED2FB}"/>
          </ac:spMkLst>
        </pc:spChg>
      </pc:sldChg>
      <pc:sldChg chg="addSp delSp modSp mod addCm delCm modCm">
        <pc:chgData name="Celeste Hsieh" userId="3c23dc7f-1c43-4092-97b9-786e61784316" providerId="ADAL" clId="{FB7F5F97-BFC2-4444-A5CE-2178AB72CEF5}" dt="2024-03-26T21:45:58.539" v="2279"/>
        <pc:sldMkLst>
          <pc:docMk/>
          <pc:sldMk cId="1537990309" sldId="2147482150"/>
        </pc:sldMkLst>
        <pc:spChg chg="mod">
          <ac:chgData name="Celeste Hsieh" userId="3c23dc7f-1c43-4092-97b9-786e61784316" providerId="ADAL" clId="{FB7F5F97-BFC2-4444-A5CE-2178AB72CEF5}" dt="2024-03-26T17:04:33.553" v="2130" actId="20577"/>
          <ac:spMkLst>
            <pc:docMk/>
            <pc:sldMk cId="1537990309" sldId="2147482150"/>
            <ac:spMk id="4" creationId="{2778CEDE-0791-3177-4BE5-3DFAE9E45F2D}"/>
          </ac:spMkLst>
        </pc:spChg>
        <pc:spChg chg="add mod">
          <ac:chgData name="Celeste Hsieh" userId="3c23dc7f-1c43-4092-97b9-786e61784316" providerId="ADAL" clId="{FB7F5F97-BFC2-4444-A5CE-2178AB72CEF5}" dt="2024-03-26T18:03:30.477" v="2143"/>
          <ac:spMkLst>
            <pc:docMk/>
            <pc:sldMk cId="1537990309" sldId="2147482150"/>
            <ac:spMk id="5" creationId="{47A9B30D-50ED-7164-A59A-6359BBD87E06}"/>
          </ac:spMkLst>
        </pc:spChg>
        <pc:spChg chg="del">
          <ac:chgData name="Celeste Hsieh" userId="3c23dc7f-1c43-4092-97b9-786e61784316" providerId="ADAL" clId="{FB7F5F97-BFC2-4444-A5CE-2178AB72CEF5}" dt="2024-03-25T22:04:33.290" v="1261" actId="478"/>
          <ac:spMkLst>
            <pc:docMk/>
            <pc:sldMk cId="1537990309" sldId="2147482150"/>
            <ac:spMk id="5" creationId="{4BD6B1C4-E68C-B69F-E223-6C30AF07CD09}"/>
          </ac:spMkLst>
        </pc:spChg>
        <pc:spChg chg="mod">
          <ac:chgData name="Celeste Hsieh" userId="3c23dc7f-1c43-4092-97b9-786e61784316" providerId="ADAL" clId="{FB7F5F97-BFC2-4444-A5CE-2178AB72CEF5}" dt="2024-03-25T23:19:41.008" v="2013" actId="1036"/>
          <ac:spMkLst>
            <pc:docMk/>
            <pc:sldMk cId="1537990309" sldId="2147482150"/>
            <ac:spMk id="7" creationId="{6EF07DF9-49F7-41B4-B521-8699544EDC08}"/>
          </ac:spMkLst>
        </pc:spChg>
        <pc:spChg chg="mod">
          <ac:chgData name="Celeste Hsieh" userId="3c23dc7f-1c43-4092-97b9-786e61784316" providerId="ADAL" clId="{FB7F5F97-BFC2-4444-A5CE-2178AB72CEF5}" dt="2024-03-25T23:22:17.722" v="2118" actId="1036"/>
          <ac:spMkLst>
            <pc:docMk/>
            <pc:sldMk cId="1537990309" sldId="2147482150"/>
            <ac:spMk id="8" creationId="{0F924580-94BC-4B65-A148-C7FBFD6D12B4}"/>
          </ac:spMkLst>
        </pc:spChg>
        <pc:spChg chg="mod">
          <ac:chgData name="Celeste Hsieh" userId="3c23dc7f-1c43-4092-97b9-786e61784316" providerId="ADAL" clId="{FB7F5F97-BFC2-4444-A5CE-2178AB72CEF5}" dt="2024-03-25T23:22:12.192" v="2111" actId="1035"/>
          <ac:spMkLst>
            <pc:docMk/>
            <pc:sldMk cId="1537990309" sldId="2147482150"/>
            <ac:spMk id="9" creationId="{E94239DF-8738-3B6C-4510-AE6F9EDBDD61}"/>
          </ac:spMkLst>
        </pc:spChg>
        <pc:spChg chg="add del mod">
          <ac:chgData name="Celeste Hsieh" userId="3c23dc7f-1c43-4092-97b9-786e61784316" providerId="ADAL" clId="{FB7F5F97-BFC2-4444-A5CE-2178AB72CEF5}" dt="2024-03-25T22:03:45.265" v="1228" actId="478"/>
          <ac:spMkLst>
            <pc:docMk/>
            <pc:sldMk cId="1537990309" sldId="2147482150"/>
            <ac:spMk id="10" creationId="{8E6E9B1B-8360-BAC6-72DB-9C874C7F5C52}"/>
          </ac:spMkLst>
        </pc:spChg>
        <pc:spChg chg="add 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1" creationId="{57962241-D95E-A7BD-CE7E-BBC9222CBD21}"/>
          </ac:spMkLst>
        </pc:spChg>
        <pc:spChg chg="del">
          <ac:chgData name="Celeste Hsieh" userId="3c23dc7f-1c43-4092-97b9-786e61784316" providerId="ADAL" clId="{FB7F5F97-BFC2-4444-A5CE-2178AB72CEF5}" dt="2024-03-25T22:02:21.176" v="1124" actId="478"/>
          <ac:spMkLst>
            <pc:docMk/>
            <pc:sldMk cId="1537990309" sldId="2147482150"/>
            <ac:spMk id="28" creationId="{FEA44175-4C8C-B544-BE61-9526E6C041C8}"/>
          </ac:spMkLst>
        </pc:spChg>
        <pc:spChg chg="del">
          <ac:chgData name="Celeste Hsieh" userId="3c23dc7f-1c43-4092-97b9-786e61784316" providerId="ADAL" clId="{FB7F5F97-BFC2-4444-A5CE-2178AB72CEF5}" dt="2024-03-25T22:02:22.860" v="1125" actId="478"/>
          <ac:spMkLst>
            <pc:docMk/>
            <pc:sldMk cId="1537990309" sldId="2147482150"/>
            <ac:spMk id="44" creationId="{2E03EFE9-92DF-085C-6714-5AAB54A036D9}"/>
          </ac:spMkLst>
        </pc:spChg>
        <pc:spChg chg="del">
          <ac:chgData name="Celeste Hsieh" userId="3c23dc7f-1c43-4092-97b9-786e61784316" providerId="ADAL" clId="{FB7F5F97-BFC2-4444-A5CE-2178AB72CEF5}" dt="2024-03-25T22:03:57.298" v="1234" actId="478"/>
          <ac:spMkLst>
            <pc:docMk/>
            <pc:sldMk cId="1537990309" sldId="2147482150"/>
            <ac:spMk id="45" creationId="{09C275DD-4E22-4E86-9097-8104F04FAEF2}"/>
          </ac:spMkLst>
        </pc:spChg>
        <pc:spChg chg="del">
          <ac:chgData name="Celeste Hsieh" userId="3c23dc7f-1c43-4092-97b9-786e61784316" providerId="ADAL" clId="{FB7F5F97-BFC2-4444-A5CE-2178AB72CEF5}" dt="2024-03-25T22:02:23.745" v="1126" actId="478"/>
          <ac:spMkLst>
            <pc:docMk/>
            <pc:sldMk cId="1537990309" sldId="2147482150"/>
            <ac:spMk id="46" creationId="{3FB21D49-F2E8-F577-DA49-65075605A2D1}"/>
          </ac:spMkLst>
        </pc:spChg>
        <pc:spChg chg="del">
          <ac:chgData name="Celeste Hsieh" userId="3c23dc7f-1c43-4092-97b9-786e61784316" providerId="ADAL" clId="{FB7F5F97-BFC2-4444-A5CE-2178AB72CEF5}" dt="2024-03-25T22:04:07.305" v="1240" actId="478"/>
          <ac:spMkLst>
            <pc:docMk/>
            <pc:sldMk cId="1537990309" sldId="2147482150"/>
            <ac:spMk id="48" creationId="{F4E177D6-E5E5-26FB-A620-AACA63A0F409}"/>
          </ac:spMkLst>
        </pc:spChg>
        <pc:spChg chg="del">
          <ac:chgData name="Celeste Hsieh" userId="3c23dc7f-1c43-4092-97b9-786e61784316" providerId="ADAL" clId="{FB7F5F97-BFC2-4444-A5CE-2178AB72CEF5}" dt="2024-03-25T22:04:09.705" v="1242" actId="478"/>
          <ac:spMkLst>
            <pc:docMk/>
            <pc:sldMk cId="1537990309" sldId="2147482150"/>
            <ac:spMk id="50" creationId="{F53A0B67-09A2-0F61-0469-454D51741FE7}"/>
          </ac:spMkLst>
        </pc:spChg>
        <pc:spChg chg="del">
          <ac:chgData name="Celeste Hsieh" userId="3c23dc7f-1c43-4092-97b9-786e61784316" providerId="ADAL" clId="{FB7F5F97-BFC2-4444-A5CE-2178AB72CEF5}" dt="2024-03-25T22:04:15.686" v="1246" actId="478"/>
          <ac:spMkLst>
            <pc:docMk/>
            <pc:sldMk cId="1537990309" sldId="2147482150"/>
            <ac:spMk id="54" creationId="{B2BEB365-7F88-47B3-8110-3AB68E01378C}"/>
          </ac:spMkLst>
        </pc:spChg>
        <pc:spChg chg="del">
          <ac:chgData name="Celeste Hsieh" userId="3c23dc7f-1c43-4092-97b9-786e61784316" providerId="ADAL" clId="{FB7F5F97-BFC2-4444-A5CE-2178AB72CEF5}" dt="2024-03-25T22:04:14.900" v="1245" actId="478"/>
          <ac:spMkLst>
            <pc:docMk/>
            <pc:sldMk cId="1537990309" sldId="2147482150"/>
            <ac:spMk id="55" creationId="{C43C8875-1F7F-4B7C-BE73-57E8FA26D0D6}"/>
          </ac:spMkLst>
        </pc:spChg>
        <pc:spChg chg="del">
          <ac:chgData name="Celeste Hsieh" userId="3c23dc7f-1c43-4092-97b9-786e61784316" providerId="ADAL" clId="{FB7F5F97-BFC2-4444-A5CE-2178AB72CEF5}" dt="2024-03-25T22:04:21.349" v="1250" actId="478"/>
          <ac:spMkLst>
            <pc:docMk/>
            <pc:sldMk cId="1537990309" sldId="2147482150"/>
            <ac:spMk id="56" creationId="{6503C78C-D34A-472E-A5EA-3DC955DB24CC}"/>
          </ac:spMkLst>
        </pc:spChg>
        <pc:spChg chg="del">
          <ac:chgData name="Celeste Hsieh" userId="3c23dc7f-1c43-4092-97b9-786e61784316" providerId="ADAL" clId="{FB7F5F97-BFC2-4444-A5CE-2178AB72CEF5}" dt="2024-03-25T22:04:22.390" v="1251" actId="478"/>
          <ac:spMkLst>
            <pc:docMk/>
            <pc:sldMk cId="1537990309" sldId="2147482150"/>
            <ac:spMk id="68" creationId="{827BC20E-4290-4CE3-A68A-542244C8150E}"/>
          </ac:spMkLst>
        </pc:spChg>
        <pc:spChg chg="del">
          <ac:chgData name="Celeste Hsieh" userId="3c23dc7f-1c43-4092-97b9-786e61784316" providerId="ADAL" clId="{FB7F5F97-BFC2-4444-A5CE-2178AB72CEF5}" dt="2024-03-25T22:03:50.025" v="1233" actId="478"/>
          <ac:spMkLst>
            <pc:docMk/>
            <pc:sldMk cId="1537990309" sldId="2147482150"/>
            <ac:spMk id="70" creationId="{2F762921-4D68-47C5-90AA-F1A330F90974}"/>
          </ac:spMkLst>
        </pc:spChg>
        <pc:spChg chg="del">
          <ac:chgData name="Celeste Hsieh" userId="3c23dc7f-1c43-4092-97b9-786e61784316" providerId="ADAL" clId="{FB7F5F97-BFC2-4444-A5CE-2178AB72CEF5}" dt="2024-03-25T22:03:48.505" v="1232" actId="478"/>
          <ac:spMkLst>
            <pc:docMk/>
            <pc:sldMk cId="1537990309" sldId="2147482150"/>
            <ac:spMk id="71" creationId="{3149A30B-77C3-4DD9-8919-11CC81AD664F}"/>
          </ac:spMkLst>
        </pc:spChg>
        <pc:spChg chg="del">
          <ac:chgData name="Celeste Hsieh" userId="3c23dc7f-1c43-4092-97b9-786e61784316" providerId="ADAL" clId="{FB7F5F97-BFC2-4444-A5CE-2178AB72CEF5}" dt="2024-03-25T22:04:06.334" v="1239" actId="478"/>
          <ac:spMkLst>
            <pc:docMk/>
            <pc:sldMk cId="1537990309" sldId="2147482150"/>
            <ac:spMk id="72" creationId="{275DA716-0DFC-4448-9A6F-00AABE20C9E4}"/>
          </ac:spMkLst>
        </pc:spChg>
        <pc:spChg chg="del">
          <ac:chgData name="Celeste Hsieh" userId="3c23dc7f-1c43-4092-97b9-786e61784316" providerId="ADAL" clId="{FB7F5F97-BFC2-4444-A5CE-2178AB72CEF5}" dt="2024-03-25T22:04:05.246" v="1238" actId="478"/>
          <ac:spMkLst>
            <pc:docMk/>
            <pc:sldMk cId="1537990309" sldId="2147482150"/>
            <ac:spMk id="73" creationId="{31C95559-8712-4D1E-85E9-53CAC9AAEC5D}"/>
          </ac:spMkLst>
        </pc:spChg>
        <pc:spChg chg="del">
          <ac:chgData name="Celeste Hsieh" userId="3c23dc7f-1c43-4092-97b9-786e61784316" providerId="ADAL" clId="{FB7F5F97-BFC2-4444-A5CE-2178AB72CEF5}" dt="2024-03-25T22:04:04.144" v="1237" actId="478"/>
          <ac:spMkLst>
            <pc:docMk/>
            <pc:sldMk cId="1537990309" sldId="2147482150"/>
            <ac:spMk id="74" creationId="{DB7B0D80-1558-40EB-A18D-0452FBF408B4}"/>
          </ac:spMkLst>
        </pc:spChg>
        <pc:spChg chg="del mod">
          <ac:chgData name="Celeste Hsieh" userId="3c23dc7f-1c43-4092-97b9-786e61784316" providerId="ADAL" clId="{FB7F5F97-BFC2-4444-A5CE-2178AB72CEF5}" dt="2024-03-25T22:03:42.407" v="1223" actId="478"/>
          <ac:spMkLst>
            <pc:docMk/>
            <pc:sldMk cId="1537990309" sldId="2147482150"/>
            <ac:spMk id="75" creationId="{639C49A6-C537-57E0-5CF7-1468581241F6}"/>
          </ac:spMkLst>
        </pc:spChg>
        <pc:spChg chg="del">
          <ac:chgData name="Celeste Hsieh" userId="3c23dc7f-1c43-4092-97b9-786e61784316" providerId="ADAL" clId="{FB7F5F97-BFC2-4444-A5CE-2178AB72CEF5}" dt="2024-03-25T22:04:02.973" v="1236" actId="478"/>
          <ac:spMkLst>
            <pc:docMk/>
            <pc:sldMk cId="1537990309" sldId="2147482150"/>
            <ac:spMk id="76" creationId="{BAB9B02D-BBDF-4EAE-A522-0026E0604A34}"/>
          </ac:spMkLst>
        </pc:spChg>
        <pc:spChg chg="del">
          <ac:chgData name="Celeste Hsieh" userId="3c23dc7f-1c43-4092-97b9-786e61784316" providerId="ADAL" clId="{FB7F5F97-BFC2-4444-A5CE-2178AB72CEF5}" dt="2024-03-25T22:04:20.569" v="1249" actId="478"/>
          <ac:spMkLst>
            <pc:docMk/>
            <pc:sldMk cId="1537990309" sldId="2147482150"/>
            <ac:spMk id="78" creationId="{9DE328DE-48B9-420A-9F9F-83C707BE9766}"/>
          </ac:spMkLst>
        </pc:spChg>
        <pc:spChg chg="del">
          <ac:chgData name="Celeste Hsieh" userId="3c23dc7f-1c43-4092-97b9-786e61784316" providerId="ADAL" clId="{FB7F5F97-BFC2-4444-A5CE-2178AB72CEF5}" dt="2024-03-25T22:04:08.587" v="1241" actId="478"/>
          <ac:spMkLst>
            <pc:docMk/>
            <pc:sldMk cId="1537990309" sldId="2147482150"/>
            <ac:spMk id="82" creationId="{701F4401-19DB-4BB6-B2FC-02B79363E409}"/>
          </ac:spMkLst>
        </pc:spChg>
        <pc:spChg chg="del">
          <ac:chgData name="Celeste Hsieh" userId="3c23dc7f-1c43-4092-97b9-786e61784316" providerId="ADAL" clId="{FB7F5F97-BFC2-4444-A5CE-2178AB72CEF5}" dt="2024-03-25T22:04:36.643" v="1262" actId="478"/>
          <ac:spMkLst>
            <pc:docMk/>
            <pc:sldMk cId="1537990309" sldId="2147482150"/>
            <ac:spMk id="87" creationId="{DB75E983-35F5-4902-A058-24A5F8B16AE5}"/>
          </ac:spMkLst>
        </pc:spChg>
        <pc:spChg chg="del">
          <ac:chgData name="Celeste Hsieh" userId="3c23dc7f-1c43-4092-97b9-786e61784316" providerId="ADAL" clId="{FB7F5F97-BFC2-4444-A5CE-2178AB72CEF5}" dt="2024-03-25T22:04:12.225" v="1243" actId="478"/>
          <ac:spMkLst>
            <pc:docMk/>
            <pc:sldMk cId="1537990309" sldId="2147482150"/>
            <ac:spMk id="88" creationId="{52DD22FC-CA55-4442-A44B-82EE151B0822}"/>
          </ac:spMkLst>
        </pc:spChg>
        <pc:spChg chg="del">
          <ac:chgData name="Celeste Hsieh" userId="3c23dc7f-1c43-4092-97b9-786e61784316" providerId="ADAL" clId="{FB7F5F97-BFC2-4444-A5CE-2178AB72CEF5}" dt="2024-03-25T22:04:13.048" v="1244" actId="478"/>
          <ac:spMkLst>
            <pc:docMk/>
            <pc:sldMk cId="1537990309" sldId="2147482150"/>
            <ac:spMk id="89" creationId="{35A559AF-DFB0-43C7-A37F-3271B1A9E147}"/>
          </ac:spMkLst>
        </pc:spChg>
        <pc:spChg chg="del">
          <ac:chgData name="Celeste Hsieh" userId="3c23dc7f-1c43-4092-97b9-786e61784316" providerId="ADAL" clId="{FB7F5F97-BFC2-4444-A5CE-2178AB72CEF5}" dt="2024-03-25T22:04:16.673" v="1247" actId="478"/>
          <ac:spMkLst>
            <pc:docMk/>
            <pc:sldMk cId="1537990309" sldId="2147482150"/>
            <ac:spMk id="90" creationId="{1FA168C7-28D8-4C7C-9F6A-D2C83FAA24B7}"/>
          </ac:spMkLst>
        </pc:spChg>
        <pc:spChg chg="del">
          <ac:chgData name="Celeste Hsieh" userId="3c23dc7f-1c43-4092-97b9-786e61784316" providerId="ADAL" clId="{FB7F5F97-BFC2-4444-A5CE-2178AB72CEF5}" dt="2024-03-25T22:04:19.782" v="1248" actId="478"/>
          <ac:spMkLst>
            <pc:docMk/>
            <pc:sldMk cId="1537990309" sldId="2147482150"/>
            <ac:spMk id="91" creationId="{5503C880-FD4E-442E-AD0E-9FE26A20C128}"/>
          </ac:spMkLst>
        </pc:spChg>
        <pc:spChg chg="del mod">
          <ac:chgData name="Celeste Hsieh" userId="3c23dc7f-1c43-4092-97b9-786e61784316" providerId="ADAL" clId="{FB7F5F97-BFC2-4444-A5CE-2178AB72CEF5}" dt="2024-03-25T22:03:46.762" v="1230" actId="478"/>
          <ac:spMkLst>
            <pc:docMk/>
            <pc:sldMk cId="1537990309" sldId="2147482150"/>
            <ac:spMk id="93" creationId="{EC36D377-28EF-4F60-AB0D-F7D615DCBE5A}"/>
          </ac:spMkLst>
        </pc:spChg>
        <pc:spChg chg="del">
          <ac:chgData name="Celeste Hsieh" userId="3c23dc7f-1c43-4092-97b9-786e61784316" providerId="ADAL" clId="{FB7F5F97-BFC2-4444-A5CE-2178AB72CEF5}" dt="2024-03-25T22:03:47.371" v="1231" actId="478"/>
          <ac:spMkLst>
            <pc:docMk/>
            <pc:sldMk cId="1537990309" sldId="2147482150"/>
            <ac:spMk id="94" creationId="{A853E220-3FA4-430B-B4C1-FEE7D4B7B283}"/>
          </ac:spMkLst>
        </pc:spChg>
        <pc:spChg chg="del mod">
          <ac:chgData name="Celeste Hsieh" userId="3c23dc7f-1c43-4092-97b9-786e61784316" providerId="ADAL" clId="{FB7F5F97-BFC2-4444-A5CE-2178AB72CEF5}" dt="2024-03-25T22:03:44.010" v="1226" actId="478"/>
          <ac:spMkLst>
            <pc:docMk/>
            <pc:sldMk cId="1537990309" sldId="2147482150"/>
            <ac:spMk id="96" creationId="{878793DA-6CEF-426A-B587-4535D0B1EB27}"/>
          </ac:spMkLst>
        </pc:spChg>
        <pc:spChg chg="del">
          <ac:chgData name="Celeste Hsieh" userId="3c23dc7f-1c43-4092-97b9-786e61784316" providerId="ADAL" clId="{FB7F5F97-BFC2-4444-A5CE-2178AB72CEF5}" dt="2024-03-25T22:03:44.610" v="1227" actId="478"/>
          <ac:spMkLst>
            <pc:docMk/>
            <pc:sldMk cId="1537990309" sldId="2147482150"/>
            <ac:spMk id="97" creationId="{8373C61E-32DC-4927-86A4-6DFAC2BB7BF4}"/>
          </ac:spMkLst>
        </pc:spChg>
        <pc:spChg chg="del">
          <ac:chgData name="Celeste Hsieh" userId="3c23dc7f-1c43-4092-97b9-786e61784316" providerId="ADAL" clId="{FB7F5F97-BFC2-4444-A5CE-2178AB72CEF5}" dt="2024-03-25T22:04:01.769" v="1235" actId="478"/>
          <ac:spMkLst>
            <pc:docMk/>
            <pc:sldMk cId="1537990309" sldId="2147482150"/>
            <ac:spMk id="127" creationId="{FAD15A6E-4D13-46BF-9855-F1AA27A23660}"/>
          </ac:spMkLst>
        </pc:spChg>
        <pc:spChg chg="mod">
          <ac:chgData name="Celeste Hsieh" userId="3c23dc7f-1c43-4092-97b9-786e61784316" providerId="ADAL" clId="{FB7F5F97-BFC2-4444-A5CE-2178AB72CEF5}" dt="2024-03-25T22:56:18.667" v="1275" actId="1076"/>
          <ac:spMkLst>
            <pc:docMk/>
            <pc:sldMk cId="1537990309" sldId="2147482150"/>
            <ac:spMk id="128" creationId="{50E52F95-06BC-4402-B90D-B845F8019624}"/>
          </ac:spMkLst>
        </pc:spChg>
        <pc:spChg chg="del mod">
          <ac:chgData name="Celeste Hsieh" userId="3c23dc7f-1c43-4092-97b9-786e61784316" providerId="ADAL" clId="{FB7F5F97-BFC2-4444-A5CE-2178AB72CEF5}" dt="2024-03-25T22:04:38.564" v="1264" actId="478"/>
          <ac:spMkLst>
            <pc:docMk/>
            <pc:sldMk cId="1537990309" sldId="2147482150"/>
            <ac:spMk id="129" creationId="{65E039FF-AE2F-41A0-99FF-B59A5CD1E30C}"/>
          </ac:spMkLst>
        </pc:spChg>
        <pc:spChg chg="del">
          <ac:chgData name="Celeste Hsieh" userId="3c23dc7f-1c43-4092-97b9-786e61784316" providerId="ADAL" clId="{FB7F5F97-BFC2-4444-A5CE-2178AB72CEF5}" dt="2024-03-25T22:04:39.249" v="1265" actId="478"/>
          <ac:spMkLst>
            <pc:docMk/>
            <pc:sldMk cId="1537990309" sldId="2147482150"/>
            <ac:spMk id="130" creationId="{AD5BA714-6278-41DD-8C75-268A8578E49F}"/>
          </ac:spMkLst>
        </pc:spChg>
        <pc:spChg chg="del">
          <ac:chgData name="Celeste Hsieh" userId="3c23dc7f-1c43-4092-97b9-786e61784316" providerId="ADAL" clId="{FB7F5F97-BFC2-4444-A5CE-2178AB72CEF5}" dt="2024-03-25T22:04:25.132" v="1254" actId="478"/>
          <ac:spMkLst>
            <pc:docMk/>
            <pc:sldMk cId="1537990309" sldId="2147482150"/>
            <ac:spMk id="138" creationId="{F1ECC243-3474-4386-B685-A9E8B1B32AF4}"/>
          </ac:spMkLst>
        </pc:spChg>
        <pc:spChg chg="del mod">
          <ac:chgData name="Celeste Hsieh" userId="3c23dc7f-1c43-4092-97b9-786e61784316" providerId="ADAL" clId="{FB7F5F97-BFC2-4444-A5CE-2178AB72CEF5}" dt="2024-03-25T22:04:24.308" v="1253" actId="478"/>
          <ac:spMkLst>
            <pc:docMk/>
            <pc:sldMk cId="1537990309" sldId="2147482150"/>
            <ac:spMk id="139" creationId="{13852837-4E7B-493B-B982-7EC3731FD93B}"/>
          </ac:spMkLst>
        </pc:spChg>
        <pc:spChg chg="del">
          <ac:chgData name="Celeste Hsieh" userId="3c23dc7f-1c43-4092-97b9-786e61784316" providerId="ADAL" clId="{FB7F5F97-BFC2-4444-A5CE-2178AB72CEF5}" dt="2024-03-25T22:04:28.194" v="1257" actId="478"/>
          <ac:spMkLst>
            <pc:docMk/>
            <pc:sldMk cId="1537990309" sldId="2147482150"/>
            <ac:spMk id="141" creationId="{8705CA3D-7BCF-4FE5-B4B6-F0A40A02453F}"/>
          </ac:spMkLst>
        </pc:spChg>
        <pc:spChg chg="del">
          <ac:chgData name="Celeste Hsieh" userId="3c23dc7f-1c43-4092-97b9-786e61784316" providerId="ADAL" clId="{FB7F5F97-BFC2-4444-A5CE-2178AB72CEF5}" dt="2024-03-25T22:04:29.598" v="1258" actId="478"/>
          <ac:spMkLst>
            <pc:docMk/>
            <pc:sldMk cId="1537990309" sldId="2147482150"/>
            <ac:spMk id="142" creationId="{76A66455-BEDE-4863-A4DB-B79F6C6EEB2C}"/>
          </ac:spMkLst>
        </pc:spChg>
        <pc:spChg chg="del">
          <ac:chgData name="Celeste Hsieh" userId="3c23dc7f-1c43-4092-97b9-786e61784316" providerId="ADAL" clId="{FB7F5F97-BFC2-4444-A5CE-2178AB72CEF5}" dt="2024-03-25T22:04:32.002" v="1260" actId="478"/>
          <ac:spMkLst>
            <pc:docMk/>
            <pc:sldMk cId="1537990309" sldId="2147482150"/>
            <ac:spMk id="143" creationId="{8831EA26-9053-449B-B9C5-9F8128AD4602}"/>
          </ac:spMkLst>
        </pc:spChg>
        <pc:spChg chg="del">
          <ac:chgData name="Celeste Hsieh" userId="3c23dc7f-1c43-4092-97b9-786e61784316" providerId="ADAL" clId="{FB7F5F97-BFC2-4444-A5CE-2178AB72CEF5}" dt="2024-03-25T22:04:31.218" v="1259" actId="478"/>
          <ac:spMkLst>
            <pc:docMk/>
            <pc:sldMk cId="1537990309" sldId="2147482150"/>
            <ac:spMk id="144" creationId="{995A0D3B-7CB6-42C2-9D56-3E43AF9E1475}"/>
          </ac:spMkLst>
        </pc:spChg>
        <pc:spChg chg="del">
          <ac:chgData name="Celeste Hsieh" userId="3c23dc7f-1c43-4092-97b9-786e61784316" providerId="ADAL" clId="{FB7F5F97-BFC2-4444-A5CE-2178AB72CEF5}" dt="2024-03-25T22:04:25.734" v="1255" actId="478"/>
          <ac:spMkLst>
            <pc:docMk/>
            <pc:sldMk cId="1537990309" sldId="2147482150"/>
            <ac:spMk id="145" creationId="{3E0B7A2E-04BB-4EE1-95B7-3920D8D5295B}"/>
          </ac:spMkLst>
        </pc:spChg>
        <pc:spChg chg="del">
          <ac:chgData name="Celeste Hsieh" userId="3c23dc7f-1c43-4092-97b9-786e61784316" providerId="ADAL" clId="{FB7F5F97-BFC2-4444-A5CE-2178AB72CEF5}" dt="2024-03-25T22:04:26.836" v="1256" actId="478"/>
          <ac:spMkLst>
            <pc:docMk/>
            <pc:sldMk cId="1537990309" sldId="2147482150"/>
            <ac:spMk id="146" creationId="{606723E0-A1E9-4B7C-940A-3D14AC839EB8}"/>
          </ac:spMkLst>
        </pc:spChg>
        <pc:spChg chg="mod">
          <ac:chgData name="Celeste Hsieh" userId="3c23dc7f-1c43-4092-97b9-786e61784316" providerId="ADAL" clId="{FB7F5F97-BFC2-4444-A5CE-2178AB72CEF5}" dt="2024-03-25T23:18:43.798" v="1847" actId="1035"/>
          <ac:spMkLst>
            <pc:docMk/>
            <pc:sldMk cId="1537990309" sldId="2147482150"/>
            <ac:spMk id="147" creationId="{C0A1C522-BCD6-4616-8EF5-8460E08D5D76}"/>
          </ac:spMkLst>
        </pc:spChg>
        <pc:spChg chg="mod">
          <ac:chgData name="Celeste Hsieh" userId="3c23dc7f-1c43-4092-97b9-786e61784316" providerId="ADAL" clId="{FB7F5F97-BFC2-4444-A5CE-2178AB72CEF5}" dt="2024-03-25T23:18:43.798" v="1847" actId="1035"/>
          <ac:spMkLst>
            <pc:docMk/>
            <pc:sldMk cId="1537990309" sldId="2147482150"/>
            <ac:spMk id="148" creationId="{FDBE3762-96F7-4071-A357-ABFA4FF41CAC}"/>
          </ac:spMkLst>
        </pc:spChg>
        <pc:spChg chg="mod">
          <ac:chgData name="Celeste Hsieh" userId="3c23dc7f-1c43-4092-97b9-786e61784316" providerId="ADAL" clId="{FB7F5F97-BFC2-4444-A5CE-2178AB72CEF5}" dt="2024-03-25T22:58:56.427" v="1576" actId="1035"/>
          <ac:spMkLst>
            <pc:docMk/>
            <pc:sldMk cId="1537990309" sldId="2147482150"/>
            <ac:spMk id="149" creationId="{A20037A7-DE8A-41FC-BC3C-10E6585B5034}"/>
          </ac:spMkLst>
        </pc:spChg>
        <pc:spChg chg="mod">
          <ac:chgData name="Celeste Hsieh" userId="3c23dc7f-1c43-4092-97b9-786e61784316" providerId="ADAL" clId="{FB7F5F97-BFC2-4444-A5CE-2178AB72CEF5}" dt="2024-03-25T22:59:31.424" v="1625" actId="1037"/>
          <ac:spMkLst>
            <pc:docMk/>
            <pc:sldMk cId="1537990309" sldId="2147482150"/>
            <ac:spMk id="150" creationId="{4957D1D7-6C20-403A-94EF-9849CBFC4777}"/>
          </ac:spMkLst>
        </pc:spChg>
        <pc:spChg chg="mod">
          <ac:chgData name="Celeste Hsieh" userId="3c23dc7f-1c43-4092-97b9-786e61784316" providerId="ADAL" clId="{FB7F5F97-BFC2-4444-A5CE-2178AB72CEF5}" dt="2024-03-25T22:58:56.427" v="1576" actId="1035"/>
          <ac:spMkLst>
            <pc:docMk/>
            <pc:sldMk cId="1537990309" sldId="2147482150"/>
            <ac:spMk id="151" creationId="{D9121614-6C3D-4EC9-B7A2-E5A1E625D1B8}"/>
          </ac:spMkLst>
        </pc:spChg>
        <pc:spChg chg="mod">
          <ac:chgData name="Celeste Hsieh" userId="3c23dc7f-1c43-4092-97b9-786e61784316" providerId="ADAL" clId="{FB7F5F97-BFC2-4444-A5CE-2178AB72CEF5}" dt="2024-03-25T22:59:27.686" v="1623" actId="1037"/>
          <ac:spMkLst>
            <pc:docMk/>
            <pc:sldMk cId="1537990309" sldId="2147482150"/>
            <ac:spMk id="152" creationId="{D7B4C1F1-DBF7-42C0-9D8D-D89FF15CC32A}"/>
          </ac:spMkLst>
        </pc:spChg>
        <pc:spChg chg="mod">
          <ac:chgData name="Celeste Hsieh" userId="3c23dc7f-1c43-4092-97b9-786e61784316" providerId="ADAL" clId="{FB7F5F97-BFC2-4444-A5CE-2178AB72CEF5}" dt="2024-03-25T23:18:43.798" v="1847" actId="1035"/>
          <ac:spMkLst>
            <pc:docMk/>
            <pc:sldMk cId="1537990309" sldId="2147482150"/>
            <ac:spMk id="153" creationId="{2634AC0E-D678-4B07-96AE-8914CDE6955D}"/>
          </ac:spMkLst>
        </pc:spChg>
        <pc:spChg chg="mod">
          <ac:chgData name="Celeste Hsieh" userId="3c23dc7f-1c43-4092-97b9-786e61784316" providerId="ADAL" clId="{FB7F5F97-BFC2-4444-A5CE-2178AB72CEF5}" dt="2024-03-25T23:18:43.798" v="1847" actId="1035"/>
          <ac:spMkLst>
            <pc:docMk/>
            <pc:sldMk cId="1537990309" sldId="2147482150"/>
            <ac:spMk id="154" creationId="{6A7B788E-96CF-440E-8DFE-BF453B504590}"/>
          </ac:spMkLst>
        </pc:spChg>
        <pc:spChg chg="mod">
          <ac:chgData name="Celeste Hsieh" userId="3c23dc7f-1c43-4092-97b9-786e61784316" providerId="ADAL" clId="{FB7F5F97-BFC2-4444-A5CE-2178AB72CEF5}" dt="2024-03-25T23:18:43.798" v="1847" actId="1035"/>
          <ac:spMkLst>
            <pc:docMk/>
            <pc:sldMk cId="1537990309" sldId="2147482150"/>
            <ac:spMk id="155" creationId="{7D68554F-B93E-4222-8390-9B36F900D0D8}"/>
          </ac:spMkLst>
        </pc:spChg>
        <pc:spChg chg="mod">
          <ac:chgData name="Celeste Hsieh" userId="3c23dc7f-1c43-4092-97b9-786e61784316" providerId="ADAL" clId="{FB7F5F97-BFC2-4444-A5CE-2178AB72CEF5}" dt="2024-03-25T23:18:43.798" v="1847" actId="1035"/>
          <ac:spMkLst>
            <pc:docMk/>
            <pc:sldMk cId="1537990309" sldId="2147482150"/>
            <ac:spMk id="156" creationId="{A7BC309D-B9A9-415C-B73B-FFE3CC784DF1}"/>
          </ac:spMkLst>
        </pc:spChg>
        <pc:spChg chg="mod">
          <ac:chgData name="Celeste Hsieh" userId="3c23dc7f-1c43-4092-97b9-786e61784316" providerId="ADAL" clId="{FB7F5F97-BFC2-4444-A5CE-2178AB72CEF5}" dt="2024-03-25T23:18:43.798" v="1847" actId="1035"/>
          <ac:spMkLst>
            <pc:docMk/>
            <pc:sldMk cId="1537990309" sldId="2147482150"/>
            <ac:spMk id="157" creationId="{5DB361AF-6579-430F-A4A5-FD7849282CE9}"/>
          </ac:spMkLst>
        </pc:spChg>
        <pc:spChg chg="mod">
          <ac:chgData name="Celeste Hsieh" userId="3c23dc7f-1c43-4092-97b9-786e61784316" providerId="ADAL" clId="{FB7F5F97-BFC2-4444-A5CE-2178AB72CEF5}" dt="2024-03-25T23:18:43.798" v="1847" actId="1035"/>
          <ac:spMkLst>
            <pc:docMk/>
            <pc:sldMk cId="1537990309" sldId="2147482150"/>
            <ac:spMk id="158" creationId="{7A35CF9B-983F-455E-863E-F118747516FE}"/>
          </ac:spMkLst>
        </pc:spChg>
        <pc:spChg chg="mod">
          <ac:chgData name="Celeste Hsieh" userId="3c23dc7f-1c43-4092-97b9-786e61784316" providerId="ADAL" clId="{FB7F5F97-BFC2-4444-A5CE-2178AB72CEF5}" dt="2024-03-25T22:56:34.566" v="1332" actId="1035"/>
          <ac:spMkLst>
            <pc:docMk/>
            <pc:sldMk cId="1537990309" sldId="2147482150"/>
            <ac:spMk id="159" creationId="{F272C514-9CC0-4570-B2FE-F53E70211B33}"/>
          </ac:spMkLst>
        </pc:spChg>
        <pc:spChg chg="mod">
          <ac:chgData name="Celeste Hsieh" userId="3c23dc7f-1c43-4092-97b9-786e61784316" providerId="ADAL" clId="{FB7F5F97-BFC2-4444-A5CE-2178AB72CEF5}" dt="2024-03-25T22:56:39.661" v="1369" actId="1035"/>
          <ac:spMkLst>
            <pc:docMk/>
            <pc:sldMk cId="1537990309" sldId="2147482150"/>
            <ac:spMk id="160" creationId="{A095FC54-8352-40F0-875E-049E84597DB6}"/>
          </ac:spMkLst>
        </pc:spChg>
        <pc:spChg chg="mod">
          <ac:chgData name="Celeste Hsieh" userId="3c23dc7f-1c43-4092-97b9-786e61784316" providerId="ADAL" clId="{FB7F5F97-BFC2-4444-A5CE-2178AB72CEF5}" dt="2024-03-25T22:56:55.128" v="1424" actId="1038"/>
          <ac:spMkLst>
            <pc:docMk/>
            <pc:sldMk cId="1537990309" sldId="2147482150"/>
            <ac:spMk id="161" creationId="{A441CF18-06F5-4BEB-8B4A-8D2CD2F338E7}"/>
          </ac:spMkLst>
        </pc:spChg>
        <pc:spChg chg="mod">
          <ac:chgData name="Celeste Hsieh" userId="3c23dc7f-1c43-4092-97b9-786e61784316" providerId="ADAL" clId="{FB7F5F97-BFC2-4444-A5CE-2178AB72CEF5}" dt="2024-03-25T22:57:03.406" v="1438" actId="1035"/>
          <ac:spMkLst>
            <pc:docMk/>
            <pc:sldMk cId="1537990309" sldId="2147482150"/>
            <ac:spMk id="162" creationId="{356B5947-97C9-43F5-95B9-F36EA40A93EB}"/>
          </ac:spMkLst>
        </pc:spChg>
        <pc:spChg chg="mod">
          <ac:chgData name="Celeste Hsieh" userId="3c23dc7f-1c43-4092-97b9-786e61784316" providerId="ADAL" clId="{FB7F5F97-BFC2-4444-A5CE-2178AB72CEF5}" dt="2024-03-25T22:56:34.566" v="1332" actId="1035"/>
          <ac:spMkLst>
            <pc:docMk/>
            <pc:sldMk cId="1537990309" sldId="2147482150"/>
            <ac:spMk id="163" creationId="{A137D7F3-928A-4437-935B-438D9CB7D016}"/>
          </ac:spMkLst>
        </pc:spChg>
        <pc:spChg chg="mod">
          <ac:chgData name="Celeste Hsieh" userId="3c23dc7f-1c43-4092-97b9-786e61784316" providerId="ADAL" clId="{FB7F5F97-BFC2-4444-A5CE-2178AB72CEF5}" dt="2024-03-25T22:57:05.800" v="1441" actId="1035"/>
          <ac:spMkLst>
            <pc:docMk/>
            <pc:sldMk cId="1537990309" sldId="2147482150"/>
            <ac:spMk id="164" creationId="{9018796F-5D51-4D64-9998-BCBA29F939B1}"/>
          </ac:spMkLst>
        </pc:spChg>
        <pc:spChg chg="mod">
          <ac:chgData name="Celeste Hsieh" userId="3c23dc7f-1c43-4092-97b9-786e61784316" providerId="ADAL" clId="{FB7F5F97-BFC2-4444-A5CE-2178AB72CEF5}" dt="2024-03-25T22:56:34.566" v="1332" actId="1035"/>
          <ac:spMkLst>
            <pc:docMk/>
            <pc:sldMk cId="1537990309" sldId="2147482150"/>
            <ac:spMk id="165" creationId="{2EE85C6C-CBA8-47EA-BB93-543EFD98632B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68" creationId="{75DEE7ED-6B79-48CE-B782-CDBE7B789DAC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69" creationId="{A72D7420-3E5D-4FD3-AF91-CDB7909934F8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70" creationId="{67D658CE-AB9A-4458-9641-96A1D705F148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71" creationId="{153F28F6-1612-4EF2-835A-2E27472D5A91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72" creationId="{01A13DEA-BA66-436A-BBC7-0A7E1BD36CB7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73" creationId="{8103008D-F928-4C1F-BEA8-6BE2A36CAFD6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74" creationId="{B8693B06-D1EF-4303-A0F1-6A7ECC90E010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75" creationId="{28764D9D-10A9-4DB3-8654-A3A1F68B08EE}"/>
          </ac:spMkLst>
        </pc:spChg>
        <pc:spChg chg="mod">
          <ac:chgData name="Celeste Hsieh" userId="3c23dc7f-1c43-4092-97b9-786e61784316" providerId="ADAL" clId="{FB7F5F97-BFC2-4444-A5CE-2178AB72CEF5}" dt="2024-03-26T19:04:02.734" v="2234" actId="1037"/>
          <ac:spMkLst>
            <pc:docMk/>
            <pc:sldMk cId="1537990309" sldId="2147482150"/>
            <ac:spMk id="176" creationId="{AFEC86F7-3251-4A6F-B4FA-A87C121A94C4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77" creationId="{9EC9BFD3-1252-4F62-8040-456E2619E0D6}"/>
          </ac:spMkLst>
        </pc:spChg>
        <pc:spChg chg="mod">
          <ac:chgData name="Celeste Hsieh" userId="3c23dc7f-1c43-4092-97b9-786e61784316" providerId="ADAL" clId="{FB7F5F97-BFC2-4444-A5CE-2178AB72CEF5}" dt="2024-03-25T23:19:29.273" v="1938" actId="1035"/>
          <ac:spMkLst>
            <pc:docMk/>
            <pc:sldMk cId="1537990309" sldId="2147482150"/>
            <ac:spMk id="178" creationId="{1410AE10-5C58-469B-B740-997A6EA5E121}"/>
          </ac:spMkLst>
        </pc:spChg>
        <pc:spChg chg="mod">
          <ac:chgData name="Celeste Hsieh" userId="3c23dc7f-1c43-4092-97b9-786e61784316" providerId="ADAL" clId="{FB7F5F97-BFC2-4444-A5CE-2178AB72CEF5}" dt="2024-03-25T23:18:59.297" v="1882" actId="1035"/>
          <ac:spMkLst>
            <pc:docMk/>
            <pc:sldMk cId="1537990309" sldId="2147482150"/>
            <ac:spMk id="179" creationId="{B8A17FDE-D583-483A-828C-47F17D33FFCC}"/>
          </ac:spMkLst>
        </pc:spChg>
        <pc:spChg chg="mod">
          <ac:chgData name="Celeste Hsieh" userId="3c23dc7f-1c43-4092-97b9-786e61784316" providerId="ADAL" clId="{FB7F5F97-BFC2-4444-A5CE-2178AB72CEF5}" dt="2024-03-25T23:18:59.297" v="1882" actId="1035"/>
          <ac:spMkLst>
            <pc:docMk/>
            <pc:sldMk cId="1537990309" sldId="2147482150"/>
            <ac:spMk id="180" creationId="{1FE690DC-439F-4A7F-934F-8049CAE4DE8F}"/>
          </ac:spMkLst>
        </pc:spChg>
        <pc:spChg chg="mod">
          <ac:chgData name="Celeste Hsieh" userId="3c23dc7f-1c43-4092-97b9-786e61784316" providerId="ADAL" clId="{FB7F5F97-BFC2-4444-A5CE-2178AB72CEF5}" dt="2024-03-25T23:18:59.297" v="1882" actId="1035"/>
          <ac:spMkLst>
            <pc:docMk/>
            <pc:sldMk cId="1537990309" sldId="2147482150"/>
            <ac:spMk id="181" creationId="{A1D9FD31-1A61-4820-A0CC-7AE303DEC566}"/>
          </ac:spMkLst>
        </pc:spChg>
        <pc:spChg chg="mod">
          <ac:chgData name="Celeste Hsieh" userId="3c23dc7f-1c43-4092-97b9-786e61784316" providerId="ADAL" clId="{FB7F5F97-BFC2-4444-A5CE-2178AB72CEF5}" dt="2024-03-25T23:18:59.297" v="1882" actId="1035"/>
          <ac:spMkLst>
            <pc:docMk/>
            <pc:sldMk cId="1537990309" sldId="2147482150"/>
            <ac:spMk id="182" creationId="{9CF90954-175B-4FDE-96E8-E110F70E96A8}"/>
          </ac:spMkLst>
        </pc:spChg>
        <pc:spChg chg="mod">
          <ac:chgData name="Celeste Hsieh" userId="3c23dc7f-1c43-4092-97b9-786e61784316" providerId="ADAL" clId="{FB7F5F97-BFC2-4444-A5CE-2178AB72CEF5}" dt="2024-03-25T23:18:59.297" v="1882" actId="1035"/>
          <ac:spMkLst>
            <pc:docMk/>
            <pc:sldMk cId="1537990309" sldId="2147482150"/>
            <ac:spMk id="183" creationId="{209A7E98-1620-4E47-93EB-DBB198DBEFFA}"/>
          </ac:spMkLst>
        </pc:spChg>
        <pc:spChg chg="mod">
          <ac:chgData name="Celeste Hsieh" userId="3c23dc7f-1c43-4092-97b9-786e61784316" providerId="ADAL" clId="{FB7F5F97-BFC2-4444-A5CE-2178AB72CEF5}" dt="2024-03-25T23:18:59.297" v="1882" actId="1035"/>
          <ac:spMkLst>
            <pc:docMk/>
            <pc:sldMk cId="1537990309" sldId="2147482150"/>
            <ac:spMk id="184" creationId="{9AE24503-8FA7-4042-BA5E-A9E9CADE9058}"/>
          </ac:spMkLst>
        </pc:spChg>
        <pc:spChg chg="mod">
          <ac:chgData name="Celeste Hsieh" userId="3c23dc7f-1c43-4092-97b9-786e61784316" providerId="ADAL" clId="{FB7F5F97-BFC2-4444-A5CE-2178AB72CEF5}" dt="2024-03-25T23:18:59.297" v="1882" actId="1035"/>
          <ac:spMkLst>
            <pc:docMk/>
            <pc:sldMk cId="1537990309" sldId="2147482150"/>
            <ac:spMk id="185" creationId="{B0635469-2B4D-47DA-B769-1CCBDD44D8DB}"/>
          </ac:spMkLst>
        </pc:spChg>
        <pc:spChg chg="mod">
          <ac:chgData name="Celeste Hsieh" userId="3c23dc7f-1c43-4092-97b9-786e61784316" providerId="ADAL" clId="{FB7F5F97-BFC2-4444-A5CE-2178AB72CEF5}" dt="2024-03-25T23:18:59.297" v="1882" actId="1035"/>
          <ac:spMkLst>
            <pc:docMk/>
            <pc:sldMk cId="1537990309" sldId="2147482150"/>
            <ac:spMk id="186" creationId="{CC5E3883-4BC3-42B8-ADC9-59F8AAA21B41}"/>
          </ac:spMkLst>
        </pc:spChg>
        <pc:spChg chg="mod">
          <ac:chgData name="Celeste Hsieh" userId="3c23dc7f-1c43-4092-97b9-786e61784316" providerId="ADAL" clId="{FB7F5F97-BFC2-4444-A5CE-2178AB72CEF5}" dt="2024-03-25T23:22:24.117" v="2119" actId="1076"/>
          <ac:spMkLst>
            <pc:docMk/>
            <pc:sldMk cId="1537990309" sldId="2147482150"/>
            <ac:spMk id="188" creationId="{A3D44856-089D-4F44-84A9-8C5F518220DE}"/>
          </ac:spMkLst>
        </pc:spChg>
        <pc:spChg chg="mod">
          <ac:chgData name="Celeste Hsieh" userId="3c23dc7f-1c43-4092-97b9-786e61784316" providerId="ADAL" clId="{FB7F5F97-BFC2-4444-A5CE-2178AB72CEF5}" dt="2024-03-25T23:22:08.064" v="2104" actId="1035"/>
          <ac:spMkLst>
            <pc:docMk/>
            <pc:sldMk cId="1537990309" sldId="2147482150"/>
            <ac:spMk id="189" creationId="{90C2E929-8126-4B16-88FB-56EC6BD2DA4A}"/>
          </ac:spMkLst>
        </pc:spChg>
        <pc:graphicFrameChg chg="mod modGraphic">
          <ac:chgData name="Celeste Hsieh" userId="3c23dc7f-1c43-4092-97b9-786e61784316" providerId="ADAL" clId="{FB7F5F97-BFC2-4444-A5CE-2178AB72CEF5}" dt="2024-03-25T22:04:48.956" v="1271" actId="1076"/>
          <ac:graphicFrameMkLst>
            <pc:docMk/>
            <pc:sldMk cId="1537990309" sldId="2147482150"/>
            <ac:graphicFrameMk id="58" creationId="{77E170A9-87B5-EC40-A26F-9EDA642E28F6}"/>
          </ac:graphicFrameMkLst>
        </pc:graphicFrameChg>
        <pc:cxnChg chg="del">
          <ac:chgData name="Celeste Hsieh" userId="3c23dc7f-1c43-4092-97b9-786e61784316" providerId="ADAL" clId="{FB7F5F97-BFC2-4444-A5CE-2178AB72CEF5}" dt="2024-03-25T22:04:40.584" v="1267" actId="478"/>
          <ac:cxnSpMkLst>
            <pc:docMk/>
            <pc:sldMk cId="1537990309" sldId="2147482150"/>
            <ac:cxnSpMk id="63" creationId="{172209F0-356F-4843-BF6A-178584B636DD}"/>
          </ac:cxnSpMkLst>
        </pc:cxnChg>
      </pc:sldChg>
      <pc:sldChg chg="addSp delSp modSp mod">
        <pc:chgData name="Celeste Hsieh" userId="3c23dc7f-1c43-4092-97b9-786e61784316" providerId="ADAL" clId="{FB7F5F97-BFC2-4444-A5CE-2178AB72CEF5}" dt="2024-03-26T18:10:14.508" v="2188" actId="1076"/>
        <pc:sldMkLst>
          <pc:docMk/>
          <pc:sldMk cId="2116408602" sldId="2147482151"/>
        </pc:sldMkLst>
        <pc:spChg chg="mod">
          <ac:chgData name="Celeste Hsieh" userId="3c23dc7f-1c43-4092-97b9-786e61784316" providerId="ADAL" clId="{FB7F5F97-BFC2-4444-A5CE-2178AB72CEF5}" dt="2024-03-26T18:10:14.508" v="2188" actId="1076"/>
          <ac:spMkLst>
            <pc:docMk/>
            <pc:sldMk cId="2116408602" sldId="2147482151"/>
            <ac:spMk id="2" creationId="{D132E6B5-E485-60D5-5F30-E987FCBD1CD8}"/>
          </ac:spMkLst>
        </pc:spChg>
        <pc:spChg chg="add del mod">
          <ac:chgData name="Celeste Hsieh" userId="3c23dc7f-1c43-4092-97b9-786e61784316" providerId="ADAL" clId="{FB7F5F97-BFC2-4444-A5CE-2178AB72CEF5}" dt="2024-03-26T18:10:08.710" v="2186"/>
          <ac:spMkLst>
            <pc:docMk/>
            <pc:sldMk cId="2116408602" sldId="2147482151"/>
            <ac:spMk id="3" creationId="{7D011017-1E97-CCAA-4AB1-26359DBC05A0}"/>
          </ac:spMkLst>
        </pc:spChg>
        <pc:spChg chg="add mod">
          <ac:chgData name="Celeste Hsieh" userId="3c23dc7f-1c43-4092-97b9-786e61784316" providerId="ADAL" clId="{FB7F5F97-BFC2-4444-A5CE-2178AB72CEF5}" dt="2024-03-26T18:10:11.581" v="2187"/>
          <ac:spMkLst>
            <pc:docMk/>
            <pc:sldMk cId="2116408602" sldId="2147482151"/>
            <ac:spMk id="5" creationId="{CDE33A5D-306F-5BD6-3479-71046E4326D7}"/>
          </ac:spMkLst>
        </pc:spChg>
      </pc:sldChg>
      <pc:sldChg chg="addSp modSp mod">
        <pc:chgData name="Celeste Hsieh" userId="3c23dc7f-1c43-4092-97b9-786e61784316" providerId="ADAL" clId="{FB7F5F97-BFC2-4444-A5CE-2178AB72CEF5}" dt="2024-03-26T18:03:42.498" v="2145" actId="1076"/>
        <pc:sldMkLst>
          <pc:docMk/>
          <pc:sldMk cId="70275736" sldId="2147482152"/>
        </pc:sldMkLst>
        <pc:picChg chg="add mod">
          <ac:chgData name="Celeste Hsieh" userId="3c23dc7f-1c43-4092-97b9-786e61784316" providerId="ADAL" clId="{FB7F5F97-BFC2-4444-A5CE-2178AB72CEF5}" dt="2024-03-26T18:03:42.498" v="2145" actId="1076"/>
          <ac:picMkLst>
            <pc:docMk/>
            <pc:sldMk cId="70275736" sldId="2147482152"/>
            <ac:picMk id="4" creationId="{F575E6FF-48BC-F369-9767-7766DC09E4E3}"/>
          </ac:picMkLst>
        </pc:picChg>
      </pc:sldChg>
      <pc:sldChg chg="addSp delSp modSp mod addCm">
        <pc:chgData name="Celeste Hsieh" userId="3c23dc7f-1c43-4092-97b9-786e61784316" providerId="ADAL" clId="{FB7F5F97-BFC2-4444-A5CE-2178AB72CEF5}" dt="2024-03-26T22:41:02.874" v="2354"/>
        <pc:sldMkLst>
          <pc:docMk/>
          <pc:sldMk cId="896328540" sldId="2147482153"/>
        </pc:sldMkLst>
        <pc:spChg chg="add del mod">
          <ac:chgData name="Celeste Hsieh" userId="3c23dc7f-1c43-4092-97b9-786e61784316" providerId="ADAL" clId="{FB7F5F97-BFC2-4444-A5CE-2178AB72CEF5}" dt="2024-03-26T22:02:08.175" v="2353" actId="478"/>
          <ac:spMkLst>
            <pc:docMk/>
            <pc:sldMk cId="896328540" sldId="2147482153"/>
            <ac:spMk id="6" creationId="{510115AE-5655-3A51-62AA-B1DDA09F3992}"/>
          </ac:spMkLst>
        </pc:spChg>
        <pc:spChg chg="add del mod">
          <ac:chgData name="Celeste Hsieh" userId="3c23dc7f-1c43-4092-97b9-786e61784316" providerId="ADAL" clId="{FB7F5F97-BFC2-4444-A5CE-2178AB72CEF5}" dt="2024-03-26T22:02:06.896" v="2352" actId="478"/>
          <ac:spMkLst>
            <pc:docMk/>
            <pc:sldMk cId="896328540" sldId="2147482153"/>
            <ac:spMk id="8" creationId="{AD54E348-79BD-D392-EBB6-0A29A76DDE01}"/>
          </ac:spMkLst>
        </pc:spChg>
      </pc:sldChg>
    </pc:docChg>
  </pc:docChgLst>
  <pc:docChgLst>
    <pc:chgData clId="Web-{AD284A24-19F4-4077-B363-203811A0E9C0}"/>
    <pc:docChg chg="">
      <pc:chgData name="" userId="" providerId="" clId="Web-{AD284A24-19F4-4077-B363-203811A0E9C0}" dt="2024-03-20T02:48:49.138" v="0"/>
      <pc:docMkLst>
        <pc:docMk/>
      </pc:docMkLst>
      <pc:sldChg chg="modCm">
        <pc:chgData name="" userId="" providerId="" clId="Web-{AD284A24-19F4-4077-B363-203811A0E9C0}" dt="2024-03-20T02:48:49.138" v="0"/>
        <pc:sldMkLst>
          <pc:docMk/>
          <pc:sldMk cId="2340784022" sldId="2147482126"/>
        </pc:sldMkLst>
      </pc:sldChg>
    </pc:docChg>
  </pc:docChgLst>
  <pc:docChgLst>
    <pc:chgData name="Jason Melehani" userId="S::jason.melehani@gilead.com::93603e9a-d746-4d7c-89da-7c5ef8b091f7" providerId="AD" clId="Web-{7840B773-9D6B-8110-7E98-4C86809CF3BB}"/>
    <pc:docChg chg="addSld modSld sldOrd modSection">
      <pc:chgData name="Jason Melehani" userId="S::jason.melehani@gilead.com::93603e9a-d746-4d7c-89da-7c5ef8b091f7" providerId="AD" clId="Web-{7840B773-9D6B-8110-7E98-4C86809CF3BB}" dt="2024-03-25T23:35:08.840" v="215"/>
      <pc:docMkLst>
        <pc:docMk/>
      </pc:docMkLst>
      <pc:sldChg chg="ord addCm modCm">
        <pc:chgData name="Jason Melehani" userId="S::jason.melehani@gilead.com::93603e9a-d746-4d7c-89da-7c5ef8b091f7" providerId="AD" clId="Web-{7840B773-9D6B-8110-7E98-4C86809CF3BB}" dt="2024-03-25T23:30:02.003" v="139"/>
        <pc:sldMkLst>
          <pc:docMk/>
          <pc:sldMk cId="3190076938" sldId="2147472670"/>
        </pc:sldMkLst>
      </pc:sldChg>
      <pc:sldChg chg="addSp delSp modSp ord addCm delCm">
        <pc:chgData name="Jason Melehani" userId="S::jason.melehani@gilead.com::93603e9a-d746-4d7c-89da-7c5ef8b091f7" providerId="AD" clId="Web-{7840B773-9D6B-8110-7E98-4C86809CF3BB}" dt="2024-03-25T23:34:43.542" v="214" actId="1076"/>
        <pc:sldMkLst>
          <pc:docMk/>
          <pc:sldMk cId="1242631946" sldId="2147472683"/>
        </pc:sldMkLst>
        <pc:spChg chg="mod">
          <ac:chgData name="Jason Melehani" userId="S::jason.melehani@gilead.com::93603e9a-d746-4d7c-89da-7c5ef8b091f7" providerId="AD" clId="Web-{7840B773-9D6B-8110-7E98-4C86809CF3BB}" dt="2024-03-25T23:28:27.828" v="124" actId="20577"/>
          <ac:spMkLst>
            <pc:docMk/>
            <pc:sldMk cId="1242631946" sldId="2147472683"/>
            <ac:spMk id="2" creationId="{D132E6B5-E485-60D5-5F30-E987FCBD1CD8}"/>
          </ac:spMkLst>
        </pc:spChg>
        <pc:spChg chg="add mod">
          <ac:chgData name="Jason Melehani" userId="S::jason.melehani@gilead.com::93603e9a-d746-4d7c-89da-7c5ef8b091f7" providerId="AD" clId="Web-{7840B773-9D6B-8110-7E98-4C86809CF3BB}" dt="2024-03-25T23:30:53.989" v="160" actId="20577"/>
          <ac:spMkLst>
            <pc:docMk/>
            <pc:sldMk cId="1242631946" sldId="2147472683"/>
            <ac:spMk id="12" creationId="{2B32C73A-31DA-0B00-8499-3F798653DD71}"/>
          </ac:spMkLst>
        </pc:spChg>
        <pc:spChg chg="mod">
          <ac:chgData name="Jason Melehani" userId="S::jason.melehani@gilead.com::93603e9a-d746-4d7c-89da-7c5ef8b091f7" providerId="AD" clId="Web-{7840B773-9D6B-8110-7E98-4C86809CF3BB}" dt="2024-03-25T23:34:43.542" v="214" actId="1076"/>
          <ac:spMkLst>
            <pc:docMk/>
            <pc:sldMk cId="1242631946" sldId="2147472683"/>
            <ac:spMk id="13" creationId="{FEF4CBC5-D306-0B23-7225-14DB647AACBA}"/>
          </ac:spMkLst>
        </pc:spChg>
        <pc:spChg chg="add mod">
          <ac:chgData name="Jason Melehani" userId="S::jason.melehani@gilead.com::93603e9a-d746-4d7c-89da-7c5ef8b091f7" providerId="AD" clId="Web-{7840B773-9D6B-8110-7E98-4C86809CF3BB}" dt="2024-03-25T23:30:50.426" v="158" actId="20577"/>
          <ac:spMkLst>
            <pc:docMk/>
            <pc:sldMk cId="1242631946" sldId="2147472683"/>
            <ac:spMk id="21" creationId="{9AA3DE11-96F3-1484-E15A-9CC7238032CF}"/>
          </ac:spMkLst>
        </pc:spChg>
        <pc:spChg chg="add mod">
          <ac:chgData name="Jason Melehani" userId="S::jason.melehani@gilead.com::93603e9a-d746-4d7c-89da-7c5ef8b091f7" providerId="AD" clId="Web-{7840B773-9D6B-8110-7E98-4C86809CF3BB}" dt="2024-03-25T23:31:16.818" v="167" actId="20577"/>
          <ac:spMkLst>
            <pc:docMk/>
            <pc:sldMk cId="1242631946" sldId="2147472683"/>
            <ac:spMk id="30" creationId="{78223404-2DF4-80B3-0AB2-3622860C8584}"/>
          </ac:spMkLst>
        </pc:spChg>
        <pc:spChg chg="add mod">
          <ac:chgData name="Jason Melehani" userId="S::jason.melehani@gilead.com::93603e9a-d746-4d7c-89da-7c5ef8b091f7" providerId="AD" clId="Web-{7840B773-9D6B-8110-7E98-4C86809CF3BB}" dt="2024-03-25T23:32:03.006" v="187" actId="1076"/>
          <ac:spMkLst>
            <pc:docMk/>
            <pc:sldMk cId="1242631946" sldId="2147472683"/>
            <ac:spMk id="32" creationId="{AD08A513-B4B0-B9D3-A2AF-1C36A1F6E3E5}"/>
          </ac:spMkLst>
        </pc:spChg>
        <pc:spChg chg="add mod">
          <ac:chgData name="Jason Melehani" userId="S::jason.melehani@gilead.com::93603e9a-d746-4d7c-89da-7c5ef8b091f7" providerId="AD" clId="Web-{7840B773-9D6B-8110-7E98-4C86809CF3BB}" dt="2024-03-25T23:32:07.944" v="193" actId="20577"/>
          <ac:spMkLst>
            <pc:docMk/>
            <pc:sldMk cId="1242631946" sldId="2147472683"/>
            <ac:spMk id="33" creationId="{FD7D8A15-55F3-6E32-A119-F62E507CEAF8}"/>
          </ac:spMkLst>
        </pc:spChg>
        <pc:spChg chg="add mod">
          <ac:chgData name="Jason Melehani" userId="S::jason.melehani@gilead.com::93603e9a-d746-4d7c-89da-7c5ef8b091f7" providerId="AD" clId="Web-{7840B773-9D6B-8110-7E98-4C86809CF3BB}" dt="2024-03-25T23:32:16.960" v="199" actId="20577"/>
          <ac:spMkLst>
            <pc:docMk/>
            <pc:sldMk cId="1242631946" sldId="2147472683"/>
            <ac:spMk id="34" creationId="{81016DFF-895F-693C-FAC7-F3E69849B6A6}"/>
          </ac:spMkLst>
        </pc:spChg>
        <pc:spChg chg="add mod">
          <ac:chgData name="Jason Melehani" userId="S::jason.melehani@gilead.com::93603e9a-d746-4d7c-89da-7c5ef8b091f7" providerId="AD" clId="Web-{7840B773-9D6B-8110-7E98-4C86809CF3BB}" dt="2024-03-25T23:32:23.616" v="204" actId="20577"/>
          <ac:spMkLst>
            <pc:docMk/>
            <pc:sldMk cId="1242631946" sldId="2147472683"/>
            <ac:spMk id="35" creationId="{C4F09C9E-9C9A-3BC0-BE77-F9609F078299}"/>
          </ac:spMkLst>
        </pc:spChg>
        <pc:grpChg chg="add mod">
          <ac:chgData name="Jason Melehani" userId="S::jason.melehani@gilead.com::93603e9a-d746-4d7c-89da-7c5ef8b091f7" providerId="AD" clId="Web-{7840B773-9D6B-8110-7E98-4C86809CF3BB}" dt="2024-03-25T23:31:46.037" v="178" actId="1076"/>
          <ac:grpSpMkLst>
            <pc:docMk/>
            <pc:sldMk cId="1242631946" sldId="2147472683"/>
            <ac:grpSpMk id="17" creationId="{9FA2E63F-F4D7-2AF9-7499-CE47AFFF992F}"/>
          </ac:grpSpMkLst>
        </pc:grpChg>
        <pc:grpChg chg="add mod">
          <ac:chgData name="Jason Melehani" userId="S::jason.melehani@gilead.com::93603e9a-d746-4d7c-89da-7c5ef8b091f7" providerId="AD" clId="Web-{7840B773-9D6B-8110-7E98-4C86809CF3BB}" dt="2024-03-25T23:34:35.573" v="211" actId="14100"/>
          <ac:grpSpMkLst>
            <pc:docMk/>
            <pc:sldMk cId="1242631946" sldId="2147472683"/>
            <ac:grpSpMk id="24" creationId="{3AE99966-C0F5-2859-DC2F-F81A3EA4ED18}"/>
          </ac:grpSpMkLst>
        </pc:grpChg>
        <pc:grpChg chg="add mod">
          <ac:chgData name="Jason Melehani" userId="S::jason.melehani@gilead.com::93603e9a-d746-4d7c-89da-7c5ef8b091f7" providerId="AD" clId="Web-{7840B773-9D6B-8110-7E98-4C86809CF3BB}" dt="2024-03-25T23:31:37.412" v="175" actId="1076"/>
          <ac:grpSpMkLst>
            <pc:docMk/>
            <pc:sldMk cId="1242631946" sldId="2147472683"/>
            <ac:grpSpMk id="31" creationId="{2B99E7DB-8DB5-7EAD-CDB3-E6788DA65255}"/>
          </ac:grpSpMkLst>
        </pc:grpChg>
        <pc:picChg chg="add del mod">
          <ac:chgData name="Jason Melehani" userId="S::jason.melehani@gilead.com::93603e9a-d746-4d7c-89da-7c5ef8b091f7" providerId="AD" clId="Web-{7840B773-9D6B-8110-7E98-4C86809CF3BB}" dt="2024-03-25T23:29:07.376" v="138"/>
          <ac:picMkLst>
            <pc:docMk/>
            <pc:sldMk cId="1242631946" sldId="2147472683"/>
            <ac:picMk id="5" creationId="{1006AFBD-4C43-1FDA-7265-C5969C3CBC83}"/>
          </ac:picMkLst>
        </pc:picChg>
        <pc:picChg chg="add del">
          <ac:chgData name="Jason Melehani" userId="S::jason.melehani@gilead.com::93603e9a-d746-4d7c-89da-7c5ef8b091f7" providerId="AD" clId="Web-{7840B773-9D6B-8110-7E98-4C86809CF3BB}" dt="2024-03-25T23:29:04.189" v="136"/>
          <ac:picMkLst>
            <pc:docMk/>
            <pc:sldMk cId="1242631946" sldId="2147472683"/>
            <ac:picMk id="7" creationId="{CF6699F7-4A21-B22F-D1B4-21EFD01DCBFE}"/>
          </ac:picMkLst>
        </pc:picChg>
        <pc:picChg chg="add">
          <ac:chgData name="Jason Melehani" userId="S::jason.melehani@gilead.com::93603e9a-d746-4d7c-89da-7c5ef8b091f7" providerId="AD" clId="Web-{7840B773-9D6B-8110-7E98-4C86809CF3BB}" dt="2024-03-25T23:30:09.581" v="140"/>
          <ac:picMkLst>
            <pc:docMk/>
            <pc:sldMk cId="1242631946" sldId="2147472683"/>
            <ac:picMk id="9" creationId="{4DE5B70C-C4A9-208E-3811-18ED7881994D}"/>
          </ac:picMkLst>
        </pc:picChg>
        <pc:picChg chg="mod">
          <ac:chgData name="Jason Melehani" userId="S::jason.melehani@gilead.com::93603e9a-d746-4d7c-89da-7c5ef8b091f7" providerId="AD" clId="Web-{7840B773-9D6B-8110-7E98-4C86809CF3BB}" dt="2024-03-25T23:34:39.355" v="213" actId="1076"/>
          <ac:picMkLst>
            <pc:docMk/>
            <pc:sldMk cId="1242631946" sldId="2147472683"/>
            <ac:picMk id="11" creationId="{7F92F48A-FAEB-EFE2-C800-B260D4456ECA}"/>
          </ac:picMkLst>
        </pc:picChg>
        <pc:picChg chg="del">
          <ac:chgData name="Jason Melehani" userId="S::jason.melehani@gilead.com::93603e9a-d746-4d7c-89da-7c5ef8b091f7" providerId="AD" clId="Web-{7840B773-9D6B-8110-7E98-4C86809CF3BB}" dt="2024-03-25T23:28:29.844" v="125"/>
          <ac:picMkLst>
            <pc:docMk/>
            <pc:sldMk cId="1242631946" sldId="2147472683"/>
            <ac:picMk id="15" creationId="{8D734B00-297D-F81A-6B53-33964726DEB5}"/>
          </ac:picMkLst>
        </pc:picChg>
        <pc:picChg chg="add">
          <ac:chgData name="Jason Melehani" userId="S::jason.melehani@gilead.com::93603e9a-d746-4d7c-89da-7c5ef8b091f7" providerId="AD" clId="Web-{7840B773-9D6B-8110-7E98-4C86809CF3BB}" dt="2024-03-25T23:30:09.612" v="142"/>
          <ac:picMkLst>
            <pc:docMk/>
            <pc:sldMk cId="1242631946" sldId="2147472683"/>
            <ac:picMk id="16" creationId="{F1C4A86A-A9EB-9B4A-69E5-BA8FE1383E0C}"/>
          </ac:picMkLst>
        </pc:picChg>
        <pc:picChg chg="add">
          <ac:chgData name="Jason Melehani" userId="S::jason.melehani@gilead.com::93603e9a-d746-4d7c-89da-7c5ef8b091f7" providerId="AD" clId="Web-{7840B773-9D6B-8110-7E98-4C86809CF3BB}" dt="2024-03-25T23:30:38.598" v="151"/>
          <ac:picMkLst>
            <pc:docMk/>
            <pc:sldMk cId="1242631946" sldId="2147472683"/>
            <ac:picMk id="19" creationId="{23EACBC3-7A31-912E-206A-AD77E30F63BC}"/>
          </ac:picMkLst>
        </pc:picChg>
        <pc:picChg chg="add">
          <ac:chgData name="Jason Melehani" userId="S::jason.melehani@gilead.com::93603e9a-d746-4d7c-89da-7c5ef8b091f7" providerId="AD" clId="Web-{7840B773-9D6B-8110-7E98-4C86809CF3BB}" dt="2024-03-25T23:30:38.629" v="153"/>
          <ac:picMkLst>
            <pc:docMk/>
            <pc:sldMk cId="1242631946" sldId="2147472683"/>
            <ac:picMk id="23" creationId="{EB110EFC-7AF5-26CF-5D77-2D329A803440}"/>
          </ac:picMkLst>
        </pc:picChg>
        <pc:picChg chg="add">
          <ac:chgData name="Jason Melehani" userId="S::jason.melehani@gilead.com::93603e9a-d746-4d7c-89da-7c5ef8b091f7" providerId="AD" clId="Web-{7840B773-9D6B-8110-7E98-4C86809CF3BB}" dt="2024-03-25T23:31:07.755" v="161"/>
          <ac:picMkLst>
            <pc:docMk/>
            <pc:sldMk cId="1242631946" sldId="2147472683"/>
            <ac:picMk id="26" creationId="{F8D58867-2111-7F42-25F0-739F0A770585}"/>
          </ac:picMkLst>
        </pc:picChg>
        <pc:picChg chg="add">
          <ac:chgData name="Jason Melehani" userId="S::jason.melehani@gilead.com::93603e9a-d746-4d7c-89da-7c5ef8b091f7" providerId="AD" clId="Web-{7840B773-9D6B-8110-7E98-4C86809CF3BB}" dt="2024-03-25T23:31:07.770" v="162"/>
          <ac:picMkLst>
            <pc:docMk/>
            <pc:sldMk cId="1242631946" sldId="2147472683"/>
            <ac:picMk id="28" creationId="{216FA0AE-A6F9-B499-4303-81C55F4CACB2}"/>
          </ac:picMkLst>
        </pc:picChg>
      </pc:sldChg>
      <pc:sldChg chg="ord">
        <pc:chgData name="Jason Melehani" userId="S::jason.melehani@gilead.com::93603e9a-d746-4d7c-89da-7c5ef8b091f7" providerId="AD" clId="Web-{7840B773-9D6B-8110-7E98-4C86809CF3BB}" dt="2024-03-25T23:35:08.840" v="215"/>
        <pc:sldMkLst>
          <pc:docMk/>
          <pc:sldMk cId="1250735742" sldId="2147482140"/>
        </pc:sldMkLst>
      </pc:sldChg>
      <pc:sldChg chg="addSp delSp modSp">
        <pc:chgData name="Jason Melehani" userId="S::jason.melehani@gilead.com::93603e9a-d746-4d7c-89da-7c5ef8b091f7" providerId="AD" clId="Web-{7840B773-9D6B-8110-7E98-4C86809CF3BB}" dt="2024-03-25T23:26:39.200" v="24"/>
        <pc:sldMkLst>
          <pc:docMk/>
          <pc:sldMk cId="3149000909" sldId="2147482143"/>
        </pc:sldMkLst>
        <pc:spChg chg="add del">
          <ac:chgData name="Jason Melehani" userId="S::jason.melehani@gilead.com::93603e9a-d746-4d7c-89da-7c5ef8b091f7" providerId="AD" clId="Web-{7840B773-9D6B-8110-7E98-4C86809CF3BB}" dt="2024-03-25T23:26:39.200" v="14"/>
          <ac:spMkLst>
            <pc:docMk/>
            <pc:sldMk cId="3149000909" sldId="2147482143"/>
            <ac:spMk id="2" creationId="{D132E6B5-E485-60D5-5F30-E987FCBD1CD8}"/>
          </ac:spMkLst>
        </pc:spChg>
        <pc:spChg chg="add del">
          <ac:chgData name="Jason Melehani" userId="S::jason.melehani@gilead.com::93603e9a-d746-4d7c-89da-7c5ef8b091f7" providerId="AD" clId="Web-{7840B773-9D6B-8110-7E98-4C86809CF3BB}" dt="2024-03-25T23:26:39.200" v="15"/>
          <ac:spMkLst>
            <pc:docMk/>
            <pc:sldMk cId="3149000909" sldId="2147482143"/>
            <ac:spMk id="4" creationId="{F8B97EA5-0D27-85E2-5B35-5ED810AE7D25}"/>
          </ac:spMkLst>
        </pc:spChg>
        <pc:spChg chg="add del">
          <ac:chgData name="Jason Melehani" userId="S::jason.melehani@gilead.com::93603e9a-d746-4d7c-89da-7c5ef8b091f7" providerId="AD" clId="Web-{7840B773-9D6B-8110-7E98-4C86809CF3BB}" dt="2024-03-25T23:26:39.200" v="17"/>
          <ac:spMkLst>
            <pc:docMk/>
            <pc:sldMk cId="3149000909" sldId="2147482143"/>
            <ac:spMk id="5" creationId="{D4DFBE65-4B02-9914-F7AA-DEB48B505EBD}"/>
          </ac:spMkLst>
        </pc:spChg>
        <pc:spChg chg="add del">
          <ac:chgData name="Jason Melehani" userId="S::jason.melehani@gilead.com::93603e9a-d746-4d7c-89da-7c5ef8b091f7" providerId="AD" clId="Web-{7840B773-9D6B-8110-7E98-4C86809CF3BB}" dt="2024-03-25T23:26:39.200" v="18"/>
          <ac:spMkLst>
            <pc:docMk/>
            <pc:sldMk cId="3149000909" sldId="2147482143"/>
            <ac:spMk id="6" creationId="{C1474A7C-352E-FCBA-C46A-55DE565B2CC1}"/>
          </ac:spMkLst>
        </pc:spChg>
        <pc:spChg chg="add del mod">
          <ac:chgData name="Jason Melehani" userId="S::jason.melehani@gilead.com::93603e9a-d746-4d7c-89da-7c5ef8b091f7" providerId="AD" clId="Web-{7840B773-9D6B-8110-7E98-4C86809CF3BB}" dt="2024-03-25T23:26:39.200" v="14"/>
          <ac:spMkLst>
            <pc:docMk/>
            <pc:sldMk cId="3149000909" sldId="2147482143"/>
            <ac:spMk id="11" creationId="{0AAC3D28-77D1-AEE0-AF62-C51AD5DE033A}"/>
          </ac:spMkLst>
        </pc:spChg>
        <pc:spChg chg="add del">
          <ac:chgData name="Jason Melehani" userId="S::jason.melehani@gilead.com::93603e9a-d746-4d7c-89da-7c5ef8b091f7" providerId="AD" clId="Web-{7840B773-9D6B-8110-7E98-4C86809CF3BB}" dt="2024-03-25T23:26:39.200" v="22"/>
          <ac:spMkLst>
            <pc:docMk/>
            <pc:sldMk cId="3149000909" sldId="2147482143"/>
            <ac:spMk id="12" creationId="{53C94AD7-9A1D-5612-05AF-13F29ED26F0A}"/>
          </ac:spMkLst>
        </pc:spChg>
        <pc:spChg chg="add del">
          <ac:chgData name="Jason Melehani" userId="S::jason.melehani@gilead.com::93603e9a-d746-4d7c-89da-7c5ef8b091f7" providerId="AD" clId="Web-{7840B773-9D6B-8110-7E98-4C86809CF3BB}" dt="2024-03-25T23:26:39.200" v="24"/>
          <ac:spMkLst>
            <pc:docMk/>
            <pc:sldMk cId="3149000909" sldId="2147482143"/>
            <ac:spMk id="16" creationId="{C7D987F6-A380-7FAB-63E8-E9DF7202C833}"/>
          </ac:spMkLst>
        </pc:spChg>
        <pc:picChg chg="add del">
          <ac:chgData name="Jason Melehani" userId="S::jason.melehani@gilead.com::93603e9a-d746-4d7c-89da-7c5ef8b091f7" providerId="AD" clId="Web-{7840B773-9D6B-8110-7E98-4C86809CF3BB}" dt="2024-03-25T23:26:39.200" v="16"/>
          <ac:picMkLst>
            <pc:docMk/>
            <pc:sldMk cId="3149000909" sldId="2147482143"/>
            <ac:picMk id="3" creationId="{5997065A-E26C-F96F-EEAF-38480120179E}"/>
          </ac:picMkLst>
        </pc:picChg>
        <pc:picChg chg="add del">
          <ac:chgData name="Jason Melehani" userId="S::jason.melehani@gilead.com::93603e9a-d746-4d7c-89da-7c5ef8b091f7" providerId="AD" clId="Web-{7840B773-9D6B-8110-7E98-4C86809CF3BB}" dt="2024-03-25T23:26:39.200" v="19"/>
          <ac:picMkLst>
            <pc:docMk/>
            <pc:sldMk cId="3149000909" sldId="2147482143"/>
            <ac:picMk id="7" creationId="{7EF06C50-A416-39FB-6642-E98B39013A4B}"/>
          </ac:picMkLst>
        </pc:picChg>
        <pc:picChg chg="add del">
          <ac:chgData name="Jason Melehani" userId="S::jason.melehani@gilead.com::93603e9a-d746-4d7c-89da-7c5ef8b091f7" providerId="AD" clId="Web-{7840B773-9D6B-8110-7E98-4C86809CF3BB}" dt="2024-03-25T23:26:39.200" v="20"/>
          <ac:picMkLst>
            <pc:docMk/>
            <pc:sldMk cId="3149000909" sldId="2147482143"/>
            <ac:picMk id="8" creationId="{023A8635-538E-E189-F55B-B54662BD80FB}"/>
          </ac:picMkLst>
        </pc:picChg>
        <pc:picChg chg="add del">
          <ac:chgData name="Jason Melehani" userId="S::jason.melehani@gilead.com::93603e9a-d746-4d7c-89da-7c5ef8b091f7" providerId="AD" clId="Web-{7840B773-9D6B-8110-7E98-4C86809CF3BB}" dt="2024-03-25T23:26:39.200" v="23"/>
          <ac:picMkLst>
            <pc:docMk/>
            <pc:sldMk cId="3149000909" sldId="2147482143"/>
            <ac:picMk id="14" creationId="{148548A4-E421-47A6-77E9-F554B32AF989}"/>
          </ac:picMkLst>
        </pc:picChg>
        <pc:cxnChg chg="add del">
          <ac:chgData name="Jason Melehani" userId="S::jason.melehani@gilead.com::93603e9a-d746-4d7c-89da-7c5ef8b091f7" providerId="AD" clId="Web-{7840B773-9D6B-8110-7E98-4C86809CF3BB}" dt="2024-03-25T23:26:39.200" v="21"/>
          <ac:cxnSpMkLst>
            <pc:docMk/>
            <pc:sldMk cId="3149000909" sldId="2147482143"/>
            <ac:cxnSpMk id="10" creationId="{A519F110-3EFB-9195-8910-2FCA935DE469}"/>
          </ac:cxnSpMkLst>
        </pc:cxnChg>
      </pc:sldChg>
      <pc:sldChg chg="ord">
        <pc:chgData name="Jason Melehani" userId="S::jason.melehani@gilead.com::93603e9a-d746-4d7c-89da-7c5ef8b091f7" providerId="AD" clId="Web-{7840B773-9D6B-8110-7E98-4C86809CF3BB}" dt="2024-03-25T23:24:20.243" v="1"/>
        <pc:sldMkLst>
          <pc:docMk/>
          <pc:sldMk cId="361833081" sldId="2147482145"/>
        </pc:sldMkLst>
      </pc:sldChg>
      <pc:sldChg chg="add replId">
        <pc:chgData name="Jason Melehani" userId="S::jason.melehani@gilead.com::93603e9a-d746-4d7c-89da-7c5ef8b091f7" providerId="AD" clId="Web-{7840B773-9D6B-8110-7E98-4C86809CF3BB}" dt="2024-03-25T23:27:47.202" v="25"/>
        <pc:sldMkLst>
          <pc:docMk/>
          <pc:sldMk cId="2116408602" sldId="2147482151"/>
        </pc:sldMkLst>
      </pc:sldChg>
    </pc:docChg>
  </pc:docChgLst>
  <pc:docChgLst>
    <pc:chgData name="Jun Xu" userId="S::jxu02@gilead.com::16503f38-d1f6-4183-be87-545c60b6292a" providerId="AD" clId="Web-{3C5D5654-447C-BE59-6E24-3B0CC1592C00}"/>
    <pc:docChg chg="">
      <pc:chgData name="Jun Xu" userId="S::jxu02@gilead.com::16503f38-d1f6-4183-be87-545c60b6292a" providerId="AD" clId="Web-{3C5D5654-447C-BE59-6E24-3B0CC1592C00}" dt="2024-05-15T20:08:55.994" v="0"/>
      <pc:docMkLst>
        <pc:docMk/>
      </pc:docMkLst>
      <pc:sldChg chg="modCm">
        <pc:chgData name="Jun Xu" userId="S::jxu02@gilead.com::16503f38-d1f6-4183-be87-545c60b6292a" providerId="AD" clId="Web-{3C5D5654-447C-BE59-6E24-3B0CC1592C00}" dt="2024-05-15T20:08:55.994" v="0"/>
        <pc:sldMkLst>
          <pc:docMk/>
          <pc:sldMk cId="361833081" sldId="214748214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un Xu" userId="S::jxu02@gilead.com::16503f38-d1f6-4183-be87-545c60b6292a" providerId="AD" clId="Web-{3C5D5654-447C-BE59-6E24-3B0CC1592C00}" dt="2024-05-15T20:08:55.994" v="0"/>
              <pc2:cmMkLst xmlns:pc2="http://schemas.microsoft.com/office/powerpoint/2019/9/main/command">
                <pc:docMk/>
                <pc:sldMk cId="361833081" sldId="2147482145"/>
                <pc2:cmMk id="{43611F5A-F858-4556-AC63-9BA15FD50E91}"/>
              </pc2:cmMkLst>
              <pc226:cmRplyChg chg="add">
                <pc226:chgData name="Jun Xu" userId="S::jxu02@gilead.com::16503f38-d1f6-4183-be87-545c60b6292a" providerId="AD" clId="Web-{3C5D5654-447C-BE59-6E24-3B0CC1592C00}" dt="2024-05-15T20:08:55.994" v="0"/>
                <pc2:cmRplyMkLst xmlns:pc2="http://schemas.microsoft.com/office/powerpoint/2019/9/main/command">
                  <pc:docMk/>
                  <pc:sldMk cId="361833081" sldId="2147482145"/>
                  <pc2:cmMk id="{43611F5A-F858-4556-AC63-9BA15FD50E91}"/>
                  <pc2:cmRplyMk id="{EB21960B-A51F-4443-A004-341740864F0B}"/>
                </pc2:cmRplyMkLst>
              </pc226:cmRplyChg>
            </pc226:cmChg>
          </p:ext>
        </pc:extLst>
      </pc:sldChg>
    </pc:docChg>
  </pc:docChgLst>
  <pc:docChgLst>
    <pc:chgData name="Jun Xu" userId="S::jxu02@gilead.com::16503f38-d1f6-4183-be87-545c60b6292a" providerId="AD" clId="Web-{607AF4CA-65C9-081A-5263-13A8A3174913}"/>
    <pc:docChg chg="modSld">
      <pc:chgData name="Jun Xu" userId="S::jxu02@gilead.com::16503f38-d1f6-4183-be87-545c60b6292a" providerId="AD" clId="Web-{607AF4CA-65C9-081A-5263-13A8A3174913}" dt="2024-03-26T19:57:17.465" v="20" actId="20577"/>
      <pc:docMkLst>
        <pc:docMk/>
      </pc:docMkLst>
      <pc:sldChg chg="modSp modCm">
        <pc:chgData name="Jun Xu" userId="S::jxu02@gilead.com::16503f38-d1f6-4183-be87-545c60b6292a" providerId="AD" clId="Web-{607AF4CA-65C9-081A-5263-13A8A3174913}" dt="2024-03-26T19:57:17.465" v="20" actId="20577"/>
        <pc:sldMkLst>
          <pc:docMk/>
          <pc:sldMk cId="1685824701" sldId="2147482146"/>
        </pc:sldMkLst>
        <pc:spChg chg="mod">
          <ac:chgData name="Jun Xu" userId="S::jxu02@gilead.com::16503f38-d1f6-4183-be87-545c60b6292a" providerId="AD" clId="Web-{607AF4CA-65C9-081A-5263-13A8A3174913}" dt="2024-03-26T19:57:17.465" v="20" actId="20577"/>
          <ac:spMkLst>
            <pc:docMk/>
            <pc:sldMk cId="1685824701" sldId="2147482146"/>
            <ac:spMk id="2" creationId="{E795290F-E2FF-2F0A-2B76-A89C8E1431EA}"/>
          </ac:spMkLst>
        </pc:spChg>
        <pc:spChg chg="mod">
          <ac:chgData name="Jun Xu" userId="S::jxu02@gilead.com::16503f38-d1f6-4183-be87-545c60b6292a" providerId="AD" clId="Web-{607AF4CA-65C9-081A-5263-13A8A3174913}" dt="2024-03-26T19:55:40.258" v="6" actId="20577"/>
          <ac:spMkLst>
            <pc:docMk/>
            <pc:sldMk cId="1685824701" sldId="2147482146"/>
            <ac:spMk id="4" creationId="{3C82F452-0863-3B4E-85D1-65B2DFF1618C}"/>
          </ac:spMkLst>
        </pc:spChg>
      </pc:sldChg>
    </pc:docChg>
  </pc:docChgLst>
  <pc:docChgLst>
    <pc:chgData name="Jason Melehani" userId="S::jason.melehani@gilead.com::93603e9a-d746-4d7c-89da-7c5ef8b091f7" providerId="AD" clId="Web-{FA79DFDF-B534-E849-43AA-8F8576D601E1}"/>
    <pc:docChg chg="modSld sldOrd">
      <pc:chgData name="Jason Melehani" userId="S::jason.melehani@gilead.com::93603e9a-d746-4d7c-89da-7c5ef8b091f7" providerId="AD" clId="Web-{FA79DFDF-B534-E849-43AA-8F8576D601E1}" dt="2024-03-25T18:43:00.311" v="139"/>
      <pc:docMkLst>
        <pc:docMk/>
      </pc:docMkLst>
      <pc:sldChg chg="modCm">
        <pc:chgData name="Jason Melehani" userId="S::jason.melehani@gilead.com::93603e9a-d746-4d7c-89da-7c5ef8b091f7" providerId="AD" clId="Web-{FA79DFDF-B534-E849-43AA-8F8576D601E1}" dt="2024-03-25T17:21:33.349" v="9"/>
        <pc:sldMkLst>
          <pc:docMk/>
          <pc:sldMk cId="1086338696" sldId="2146847517"/>
        </pc:sldMkLst>
      </pc:sldChg>
      <pc:sldChg chg="addSp delSp modSp addCm">
        <pc:chgData name="Jason Melehani" userId="S::jason.melehani@gilead.com::93603e9a-d746-4d7c-89da-7c5ef8b091f7" providerId="AD" clId="Web-{FA79DFDF-B534-E849-43AA-8F8576D601E1}" dt="2024-03-25T18:43:00.311" v="139"/>
        <pc:sldMkLst>
          <pc:docMk/>
          <pc:sldMk cId="3190076938" sldId="2147472670"/>
        </pc:sldMkLst>
        <pc:graphicFrameChg chg="add del mod modGraphic">
          <ac:chgData name="Jason Melehani" userId="S::jason.melehani@gilead.com::93603e9a-d746-4d7c-89da-7c5ef8b091f7" providerId="AD" clId="Web-{FA79DFDF-B534-E849-43AA-8F8576D601E1}" dt="2024-03-25T18:42:43.279" v="128"/>
          <ac:graphicFrameMkLst>
            <pc:docMk/>
            <pc:sldMk cId="3190076938" sldId="2147472670"/>
            <ac:graphicFrameMk id="3" creationId="{6FBB4A05-B786-B0E2-2824-19CB590C20DD}"/>
          </ac:graphicFrameMkLst>
        </pc:graphicFrameChg>
        <pc:graphicFrameChg chg="add del mod modGraphic">
          <ac:chgData name="Jason Melehani" userId="S::jason.melehani@gilead.com::93603e9a-d746-4d7c-89da-7c5ef8b091f7" providerId="AD" clId="Web-{FA79DFDF-B534-E849-43AA-8F8576D601E1}" dt="2024-03-25T17:36:02.090" v="98"/>
          <ac:graphicFrameMkLst>
            <pc:docMk/>
            <pc:sldMk cId="3190076938" sldId="2147472670"/>
            <ac:graphicFrameMk id="3" creationId="{E3CE7437-A1DB-FDA1-D343-3F61EFBB783D}"/>
          </ac:graphicFrameMkLst>
        </pc:graphicFrameChg>
        <pc:graphicFrameChg chg="mod modGraphic">
          <ac:chgData name="Jason Melehani" userId="S::jason.melehani@gilead.com::93603e9a-d746-4d7c-89da-7c5ef8b091f7" providerId="AD" clId="Web-{FA79DFDF-B534-E849-43AA-8F8576D601E1}" dt="2024-03-25T17:35:39.465" v="93"/>
          <ac:graphicFrameMkLst>
            <pc:docMk/>
            <pc:sldMk cId="3190076938" sldId="2147472670"/>
            <ac:graphicFrameMk id="5" creationId="{C020DC79-BE8E-DD0A-6E5E-15395307C79D}"/>
          </ac:graphicFrameMkLst>
        </pc:graphicFrameChg>
        <pc:graphicFrameChg chg="add mod modGraphic">
          <ac:chgData name="Jason Melehani" userId="S::jason.melehani@gilead.com::93603e9a-d746-4d7c-89da-7c5ef8b091f7" providerId="AD" clId="Web-{FA79DFDF-B534-E849-43AA-8F8576D601E1}" dt="2024-03-25T18:43:00.311" v="139"/>
          <ac:graphicFrameMkLst>
            <pc:docMk/>
            <pc:sldMk cId="3190076938" sldId="2147472670"/>
            <ac:graphicFrameMk id="9" creationId="{7B1B46F3-01F0-C359-2115-41CB246AA563}"/>
          </ac:graphicFrameMkLst>
        </pc:graphicFrameChg>
      </pc:sldChg>
      <pc:sldChg chg="modSp addCm">
        <pc:chgData name="Jason Melehani" userId="S::jason.melehani@gilead.com::93603e9a-d746-4d7c-89da-7c5ef8b091f7" providerId="AD" clId="Web-{FA79DFDF-B534-E849-43AA-8F8576D601E1}" dt="2024-03-25T17:34:25.294" v="88"/>
        <pc:sldMkLst>
          <pc:docMk/>
          <pc:sldMk cId="1242631946" sldId="2147472683"/>
        </pc:sldMkLst>
        <pc:spChg chg="mod">
          <ac:chgData name="Jason Melehani" userId="S::jason.melehani@gilead.com::93603e9a-d746-4d7c-89da-7c5ef8b091f7" providerId="AD" clId="Web-{FA79DFDF-B534-E849-43AA-8F8576D601E1}" dt="2024-03-25T17:30:19.922" v="83" actId="20577"/>
          <ac:spMkLst>
            <pc:docMk/>
            <pc:sldMk cId="1242631946" sldId="2147472683"/>
            <ac:spMk id="2" creationId="{D132E6B5-E485-60D5-5F30-E987FCBD1CD8}"/>
          </ac:spMkLst>
        </pc:spChg>
        <pc:spChg chg="mod">
          <ac:chgData name="Jason Melehani" userId="S::jason.melehani@gilead.com::93603e9a-d746-4d7c-89da-7c5ef8b091f7" providerId="AD" clId="Web-{FA79DFDF-B534-E849-43AA-8F8576D601E1}" dt="2024-03-25T17:30:23.437" v="85" actId="1076"/>
          <ac:spMkLst>
            <pc:docMk/>
            <pc:sldMk cId="1242631946" sldId="2147472683"/>
            <ac:spMk id="13" creationId="{FEF4CBC5-D306-0B23-7225-14DB647AACBA}"/>
          </ac:spMkLst>
        </pc:spChg>
        <pc:picChg chg="mod">
          <ac:chgData name="Jason Melehani" userId="S::jason.melehani@gilead.com::93603e9a-d746-4d7c-89da-7c5ef8b091f7" providerId="AD" clId="Web-{FA79DFDF-B534-E849-43AA-8F8576D601E1}" dt="2024-03-25T17:30:23.406" v="84" actId="1076"/>
          <ac:picMkLst>
            <pc:docMk/>
            <pc:sldMk cId="1242631946" sldId="2147472683"/>
            <ac:picMk id="11" creationId="{7F92F48A-FAEB-EFE2-C800-B260D4456ECA}"/>
          </ac:picMkLst>
        </pc:picChg>
        <pc:picChg chg="mod">
          <ac:chgData name="Jason Melehani" userId="S::jason.melehani@gilead.com::93603e9a-d746-4d7c-89da-7c5ef8b091f7" providerId="AD" clId="Web-{FA79DFDF-B534-E849-43AA-8F8576D601E1}" dt="2024-03-25T17:30:28.062" v="87" actId="1076"/>
          <ac:picMkLst>
            <pc:docMk/>
            <pc:sldMk cId="1242631946" sldId="2147472683"/>
            <ac:picMk id="15" creationId="{8D734B00-297D-F81A-6B53-33964726DEB5}"/>
          </ac:picMkLst>
        </pc:picChg>
      </pc:sldChg>
      <pc:sldChg chg="modSp modCm">
        <pc:chgData name="Jason Melehani" userId="S::jason.melehani@gilead.com::93603e9a-d746-4d7c-89da-7c5ef8b091f7" providerId="AD" clId="Web-{FA79DFDF-B534-E849-43AA-8F8576D601E1}" dt="2024-03-25T15:39:26.937" v="7"/>
        <pc:sldMkLst>
          <pc:docMk/>
          <pc:sldMk cId="3183540392" sldId="2147479420"/>
        </pc:sldMkLst>
        <pc:graphicFrameChg chg="mod modGraphic">
          <ac:chgData name="Jason Melehani" userId="S::jason.melehani@gilead.com::93603e9a-d746-4d7c-89da-7c5ef8b091f7" providerId="AD" clId="Web-{FA79DFDF-B534-E849-43AA-8F8576D601E1}" dt="2024-03-25T15:39:26.937" v="7"/>
          <ac:graphicFrameMkLst>
            <pc:docMk/>
            <pc:sldMk cId="3183540392" sldId="2147479420"/>
            <ac:graphicFrameMk id="42" creationId="{6969D883-7E1C-7CE9-A35B-54977D69C2D6}"/>
          </ac:graphicFrameMkLst>
        </pc:graphicFrameChg>
      </pc:sldChg>
      <pc:sldChg chg="modSp">
        <pc:chgData name="Jason Melehani" userId="S::jason.melehani@gilead.com::93603e9a-d746-4d7c-89da-7c5ef8b091f7" providerId="AD" clId="Web-{FA79DFDF-B534-E849-43AA-8F8576D601E1}" dt="2024-03-25T17:22:56.442" v="12" actId="20577"/>
        <pc:sldMkLst>
          <pc:docMk/>
          <pc:sldMk cId="322481365" sldId="2147482129"/>
        </pc:sldMkLst>
        <pc:spChg chg="mod">
          <ac:chgData name="Jason Melehani" userId="S::jason.melehani@gilead.com::93603e9a-d746-4d7c-89da-7c5ef8b091f7" providerId="AD" clId="Web-{FA79DFDF-B534-E849-43AA-8F8576D601E1}" dt="2024-03-25T17:22:56.442" v="12" actId="20577"/>
          <ac:spMkLst>
            <pc:docMk/>
            <pc:sldMk cId="322481365" sldId="2147482129"/>
            <ac:spMk id="6" creationId="{71B9F19D-E32A-E367-339E-88FF81EFBB3C}"/>
          </ac:spMkLst>
        </pc:spChg>
      </pc:sldChg>
      <pc:sldChg chg="modSp">
        <pc:chgData name="Jason Melehani" userId="S::jason.melehani@gilead.com::93603e9a-d746-4d7c-89da-7c5ef8b091f7" providerId="AD" clId="Web-{FA79DFDF-B534-E849-43AA-8F8576D601E1}" dt="2024-03-25T17:30:07.562" v="77" actId="20577"/>
        <pc:sldMkLst>
          <pc:docMk/>
          <pc:sldMk cId="1250735742" sldId="2147482140"/>
        </pc:sldMkLst>
        <pc:spChg chg="mod">
          <ac:chgData name="Jason Melehani" userId="S::jason.melehani@gilead.com::93603e9a-d746-4d7c-89da-7c5ef8b091f7" providerId="AD" clId="Web-{FA79DFDF-B534-E849-43AA-8F8576D601E1}" dt="2024-03-25T17:30:07.562" v="77" actId="20577"/>
          <ac:spMkLst>
            <pc:docMk/>
            <pc:sldMk cId="1250735742" sldId="2147482140"/>
            <ac:spMk id="2" creationId="{E3674C14-BAB4-3D1D-8518-911CBCFE92D5}"/>
          </ac:spMkLst>
        </pc:spChg>
      </pc:sldChg>
      <pc:sldChg chg="addCm">
        <pc:chgData name="Jason Melehani" userId="S::jason.melehani@gilead.com::93603e9a-d746-4d7c-89da-7c5ef8b091f7" providerId="AD" clId="Web-{FA79DFDF-B534-E849-43AA-8F8576D601E1}" dt="2024-03-25T17:39:20.916" v="100"/>
        <pc:sldMkLst>
          <pc:docMk/>
          <pc:sldMk cId="3149000909" sldId="2147482143"/>
        </pc:sldMkLst>
      </pc:sldChg>
      <pc:sldChg chg="addCm modCm">
        <pc:chgData name="Jason Melehani" userId="S::jason.melehani@gilead.com::93603e9a-d746-4d7c-89da-7c5ef8b091f7" providerId="AD" clId="Web-{FA79DFDF-B534-E849-43AA-8F8576D601E1}" dt="2024-03-25T17:45:43.615" v="101"/>
        <pc:sldMkLst>
          <pc:docMk/>
          <pc:sldMk cId="361833081" sldId="2147482145"/>
        </pc:sldMkLst>
      </pc:sldChg>
      <pc:sldChg chg="delSp modSp ord">
        <pc:chgData name="Jason Melehani" userId="S::jason.melehani@gilead.com::93603e9a-d746-4d7c-89da-7c5ef8b091f7" providerId="AD" clId="Web-{FA79DFDF-B534-E849-43AA-8F8576D601E1}" dt="2024-03-25T17:34:38.669" v="89"/>
        <pc:sldMkLst>
          <pc:docMk/>
          <pc:sldMk cId="1685824701" sldId="2147482146"/>
        </pc:sldMkLst>
        <pc:spChg chg="mod">
          <ac:chgData name="Jason Melehani" userId="S::jason.melehani@gilead.com::93603e9a-d746-4d7c-89da-7c5ef8b091f7" providerId="AD" clId="Web-{FA79DFDF-B534-E849-43AA-8F8576D601E1}" dt="2024-03-25T17:30:08.422" v="79" actId="20577"/>
          <ac:spMkLst>
            <pc:docMk/>
            <pc:sldMk cId="1685824701" sldId="2147482146"/>
            <ac:spMk id="4" creationId="{3C82F452-0863-3B4E-85D1-65B2DFF1618C}"/>
          </ac:spMkLst>
        </pc:spChg>
        <pc:graphicFrameChg chg="mod modGraphic">
          <ac:chgData name="Jason Melehani" userId="S::jason.melehani@gilead.com::93603e9a-d746-4d7c-89da-7c5ef8b091f7" providerId="AD" clId="Web-{FA79DFDF-B534-E849-43AA-8F8576D601E1}" dt="2024-03-25T17:26:00.378" v="60"/>
          <ac:graphicFrameMkLst>
            <pc:docMk/>
            <pc:sldMk cId="1685824701" sldId="2147482146"/>
            <ac:graphicFrameMk id="9" creationId="{E90DF69C-569A-F2F7-4560-5E7E49E2E77B}"/>
          </ac:graphicFrameMkLst>
        </pc:graphicFrameChg>
        <pc:picChg chg="del">
          <ac:chgData name="Jason Melehani" userId="S::jason.melehani@gilead.com::93603e9a-d746-4d7c-89da-7c5ef8b091f7" providerId="AD" clId="Web-{FA79DFDF-B534-E849-43AA-8F8576D601E1}" dt="2024-03-25T17:34:38.669" v="89"/>
          <ac:picMkLst>
            <pc:docMk/>
            <pc:sldMk cId="1685824701" sldId="2147482146"/>
            <ac:picMk id="2" creationId="{42B8EB1E-F21B-53DD-FEE7-8E5F82E4E74B}"/>
          </ac:picMkLst>
        </pc:picChg>
      </pc:sldChg>
      <pc:sldChg chg="addCm">
        <pc:chgData name="Jason Melehani" userId="S::jason.melehani@gilead.com::93603e9a-d746-4d7c-89da-7c5ef8b091f7" providerId="AD" clId="Web-{FA79DFDF-B534-E849-43AA-8F8576D601E1}" dt="2024-03-25T17:12:28.136" v="8"/>
        <pc:sldMkLst>
          <pc:docMk/>
          <pc:sldMk cId="1537990309" sldId="2147482150"/>
        </pc:sldMkLst>
      </pc:sldChg>
    </pc:docChg>
  </pc:docChgLst>
  <pc:docChgLst>
    <pc:chgData name="Jason Melehani" userId="S::jason.melehani@gilead.com::93603e9a-d746-4d7c-89da-7c5ef8b091f7" providerId="AD" clId="Web-{27091F7E-3128-BD31-EB61-CB5E25FC79E7}"/>
    <pc:docChg chg="addSld modSld modSection">
      <pc:chgData name="Jason Melehani" userId="S::jason.melehani@gilead.com::93603e9a-d746-4d7c-89da-7c5ef8b091f7" providerId="AD" clId="Web-{27091F7E-3128-BD31-EB61-CB5E25FC79E7}" dt="2024-03-18T23:26:11.761" v="1981" actId="1076"/>
      <pc:docMkLst>
        <pc:docMk/>
      </pc:docMkLst>
      <pc:sldChg chg="modSp addCm modCm">
        <pc:chgData name="Jason Melehani" userId="S::jason.melehani@gilead.com::93603e9a-d746-4d7c-89da-7c5ef8b091f7" providerId="AD" clId="Web-{27091F7E-3128-BD31-EB61-CB5E25FC79E7}" dt="2024-03-18T21:26:56.360" v="1719" actId="20577"/>
        <pc:sldMkLst>
          <pc:docMk/>
          <pc:sldMk cId="1226772100" sldId="2146847938"/>
        </pc:sldMkLst>
        <pc:spChg chg="mod">
          <ac:chgData name="Jason Melehani" userId="S::jason.melehani@gilead.com::93603e9a-d746-4d7c-89da-7c5ef8b091f7" providerId="AD" clId="Web-{27091F7E-3128-BD31-EB61-CB5E25FC79E7}" dt="2024-03-18T21:26:56.360" v="1719" actId="20577"/>
          <ac:spMkLst>
            <pc:docMk/>
            <pc:sldMk cId="1226772100" sldId="2146847938"/>
            <ac:spMk id="4" creationId="{BF5B135B-1B07-5516-1C64-BFB78718F221}"/>
          </ac:spMkLst>
        </pc:spChg>
      </pc:sldChg>
      <pc:sldChg chg="modSp addCm modCm">
        <pc:chgData name="Jason Melehani" userId="S::jason.melehani@gilead.com::93603e9a-d746-4d7c-89da-7c5ef8b091f7" providerId="AD" clId="Web-{27091F7E-3128-BD31-EB61-CB5E25FC79E7}" dt="2024-03-18T21:04:05.242" v="997" actId="20577"/>
        <pc:sldMkLst>
          <pc:docMk/>
          <pc:sldMk cId="881740034" sldId="2147479353"/>
        </pc:sldMkLst>
        <pc:spChg chg="mod">
          <ac:chgData name="Jason Melehani" userId="S::jason.melehani@gilead.com::93603e9a-d746-4d7c-89da-7c5ef8b091f7" providerId="AD" clId="Web-{27091F7E-3128-BD31-EB61-CB5E25FC79E7}" dt="2024-03-18T21:04:05.242" v="997" actId="20577"/>
          <ac:spMkLst>
            <pc:docMk/>
            <pc:sldMk cId="881740034" sldId="2147479353"/>
            <ac:spMk id="3" creationId="{7D836601-6754-9347-8E4F-019A9E8569EC}"/>
          </ac:spMkLst>
        </pc:spChg>
      </pc:sldChg>
      <pc:sldChg chg="addSp delSp modSp new addCm">
        <pc:chgData name="Jason Melehani" userId="S::jason.melehani@gilead.com::93603e9a-d746-4d7c-89da-7c5ef8b091f7" providerId="AD" clId="Web-{27091F7E-3128-BD31-EB61-CB5E25FC79E7}" dt="2024-03-18T21:27:26.127" v="1733" actId="20577"/>
        <pc:sldMkLst>
          <pc:docMk/>
          <pc:sldMk cId="2131596709" sldId="2147479482"/>
        </pc:sldMkLst>
        <pc:spChg chg="mod">
          <ac:chgData name="Jason Melehani" userId="S::jason.melehani@gilead.com::93603e9a-d746-4d7c-89da-7c5ef8b091f7" providerId="AD" clId="Web-{27091F7E-3128-BD31-EB61-CB5E25FC79E7}" dt="2024-03-18T21:27:26.127" v="1733" actId="20577"/>
          <ac:spMkLst>
            <pc:docMk/>
            <pc:sldMk cId="2131596709" sldId="2147479482"/>
            <ac:spMk id="2" creationId="{8785B8C3-7731-9911-8641-6D9960590EA5}"/>
          </ac:spMkLst>
        </pc:spChg>
        <pc:spChg chg="del mod">
          <ac:chgData name="Jason Melehani" userId="S::jason.melehani@gilead.com::93603e9a-d746-4d7c-89da-7c5ef8b091f7" providerId="AD" clId="Web-{27091F7E-3128-BD31-EB61-CB5E25FC79E7}" dt="2024-03-18T21:08:28.265" v="1375"/>
          <ac:spMkLst>
            <pc:docMk/>
            <pc:sldMk cId="2131596709" sldId="2147479482"/>
            <ac:spMk id="3" creationId="{FF040B5B-ECB5-33A4-7024-70400C6AFB5E}"/>
          </ac:spMkLst>
        </pc:spChg>
        <pc:spChg chg="mod">
          <ac:chgData name="Jason Melehani" userId="S::jason.melehani@gilead.com::93603e9a-d746-4d7c-89da-7c5ef8b091f7" providerId="AD" clId="Web-{27091F7E-3128-BD31-EB61-CB5E25FC79E7}" dt="2024-03-18T21:09:39.001" v="1478" actId="20577"/>
          <ac:spMkLst>
            <pc:docMk/>
            <pc:sldMk cId="2131596709" sldId="2147479482"/>
            <ac:spMk id="4" creationId="{C887F2F0-5FD4-6B44-BF9D-793AF6BA4391}"/>
          </ac:spMkLst>
        </pc:spChg>
        <pc:spChg chg="add mod">
          <ac:chgData name="Jason Melehani" userId="S::jason.melehani@gilead.com::93603e9a-d746-4d7c-89da-7c5ef8b091f7" providerId="AD" clId="Web-{27091F7E-3128-BD31-EB61-CB5E25FC79E7}" dt="2024-03-18T21:11:49.474" v="1564" actId="20577"/>
          <ac:spMkLst>
            <pc:docMk/>
            <pc:sldMk cId="2131596709" sldId="2147479482"/>
            <ac:spMk id="7" creationId="{A66CD013-7304-C3F8-258A-63D95941A691}"/>
          </ac:spMkLst>
        </pc:spChg>
        <pc:spChg chg="add mod">
          <ac:chgData name="Jason Melehani" userId="S::jason.melehani@gilead.com::93603e9a-d746-4d7c-89da-7c5ef8b091f7" providerId="AD" clId="Web-{27091F7E-3128-BD31-EB61-CB5E25FC79E7}" dt="2024-03-18T21:11:23.395" v="1546" actId="1076"/>
          <ac:spMkLst>
            <pc:docMk/>
            <pc:sldMk cId="2131596709" sldId="2147479482"/>
            <ac:spMk id="8" creationId="{1462B65E-AB25-4547-2BA7-4EB43117B1D4}"/>
          </ac:spMkLst>
        </pc:spChg>
      </pc:sldChg>
      <pc:sldChg chg="addSp delSp modSp new">
        <pc:chgData name="Jason Melehani" userId="S::jason.melehani@gilead.com::93603e9a-d746-4d7c-89da-7c5ef8b091f7" providerId="AD" clId="Web-{27091F7E-3128-BD31-EB61-CB5E25FC79E7}" dt="2024-03-18T23:26:11.761" v="1981" actId="1076"/>
        <pc:sldMkLst>
          <pc:docMk/>
          <pc:sldMk cId="322481365" sldId="2147482129"/>
        </pc:sldMkLst>
        <pc:spChg chg="del">
          <ac:chgData name="Jason Melehani" userId="S::jason.melehani@gilead.com::93603e9a-d746-4d7c-89da-7c5ef8b091f7" providerId="AD" clId="Web-{27091F7E-3128-BD31-EB61-CB5E25FC79E7}" dt="2024-03-18T23:25:13.666" v="1950"/>
          <ac:spMkLst>
            <pc:docMk/>
            <pc:sldMk cId="322481365" sldId="2147482129"/>
            <ac:spMk id="2" creationId="{678E7D7C-3D35-020C-72C5-FFFD0415457E}"/>
          </ac:spMkLst>
        </pc:spChg>
        <pc:spChg chg="add mod">
          <ac:chgData name="Jason Melehani" userId="S::jason.melehani@gilead.com::93603e9a-d746-4d7c-89da-7c5ef8b091f7" providerId="AD" clId="Web-{27091F7E-3128-BD31-EB61-CB5E25FC79E7}" dt="2024-03-18T23:25:50.088" v="1976" actId="20577"/>
          <ac:spMkLst>
            <pc:docMk/>
            <pc:sldMk cId="322481365" sldId="2147482129"/>
            <ac:spMk id="6" creationId="{71B9F19D-E32A-E367-339E-88FF81EFBB3C}"/>
          </ac:spMkLst>
        </pc:spChg>
        <pc:spChg chg="add mod">
          <ac:chgData name="Jason Melehani" userId="S::jason.melehani@gilead.com::93603e9a-d746-4d7c-89da-7c5ef8b091f7" providerId="AD" clId="Web-{27091F7E-3128-BD31-EB61-CB5E25FC79E7}" dt="2024-03-18T23:26:06.511" v="1980" actId="20577"/>
          <ac:spMkLst>
            <pc:docMk/>
            <pc:sldMk cId="322481365" sldId="2147482129"/>
            <ac:spMk id="13" creationId="{AE2AE70D-FBEB-D605-A6FA-C2A228BB351F}"/>
          </ac:spMkLst>
        </pc:spChg>
        <pc:spChg chg="add mod">
          <ac:chgData name="Jason Melehani" userId="S::jason.melehani@gilead.com::93603e9a-d746-4d7c-89da-7c5ef8b091f7" providerId="AD" clId="Web-{27091F7E-3128-BD31-EB61-CB5E25FC79E7}" dt="2024-03-18T23:26:03.979" v="1978" actId="20577"/>
          <ac:spMkLst>
            <pc:docMk/>
            <pc:sldMk cId="322481365" sldId="2147482129"/>
            <ac:spMk id="14" creationId="{B0ABB225-7D30-2F4A-416B-DAE842626116}"/>
          </ac:spMkLst>
        </pc:spChg>
        <pc:grpChg chg="add mod">
          <ac:chgData name="Jason Melehani" userId="S::jason.melehani@gilead.com::93603e9a-d746-4d7c-89da-7c5ef8b091f7" providerId="AD" clId="Web-{27091F7E-3128-BD31-EB61-CB5E25FC79E7}" dt="2024-03-18T23:26:11.761" v="1981" actId="1076"/>
          <ac:grpSpMkLst>
            <pc:docMk/>
            <pc:sldMk cId="322481365" sldId="2147482129"/>
            <ac:grpSpMk id="15" creationId="{1A76C0DD-91DC-8F79-C44F-C9DCE46FEEF4}"/>
          </ac:grpSpMkLst>
        </pc:grpChg>
        <pc:picChg chg="add del mod">
          <ac:chgData name="Jason Melehani" userId="S::jason.melehani@gilead.com::93603e9a-d746-4d7c-89da-7c5ef8b091f7" providerId="AD" clId="Web-{27091F7E-3128-BD31-EB61-CB5E25FC79E7}" dt="2024-03-18T23:07:41.453" v="1738"/>
          <ac:picMkLst>
            <pc:docMk/>
            <pc:sldMk cId="322481365" sldId="2147482129"/>
            <ac:picMk id="4" creationId="{83EE8991-2B2E-A5A8-FAC4-C1CAC0141B97}"/>
          </ac:picMkLst>
        </pc:picChg>
        <pc:picChg chg="add del mod">
          <ac:chgData name="Jason Melehani" userId="S::jason.melehani@gilead.com::93603e9a-d746-4d7c-89da-7c5ef8b091f7" providerId="AD" clId="Web-{27091F7E-3128-BD31-EB61-CB5E25FC79E7}" dt="2024-03-18T23:12:10.928" v="1796"/>
          <ac:picMkLst>
            <pc:docMk/>
            <pc:sldMk cId="322481365" sldId="2147482129"/>
            <ac:picMk id="5" creationId="{F2BE606C-AA25-D532-6E09-8116785798DC}"/>
          </ac:picMkLst>
        </pc:picChg>
        <pc:picChg chg="add del mod">
          <ac:chgData name="Jason Melehani" userId="S::jason.melehani@gilead.com::93603e9a-d746-4d7c-89da-7c5ef8b091f7" providerId="AD" clId="Web-{27091F7E-3128-BD31-EB61-CB5E25FC79E7}" dt="2024-03-18T23:12:25.241" v="1801"/>
          <ac:picMkLst>
            <pc:docMk/>
            <pc:sldMk cId="322481365" sldId="2147482129"/>
            <ac:picMk id="7" creationId="{A63D9E87-C7A9-2EA5-6228-2E8E2D36EA0C}"/>
          </ac:picMkLst>
        </pc:picChg>
        <pc:picChg chg="add mod">
          <ac:chgData name="Jason Melehani" userId="S::jason.melehani@gilead.com::93603e9a-d746-4d7c-89da-7c5ef8b091f7" providerId="AD" clId="Web-{27091F7E-3128-BD31-EB61-CB5E25FC79E7}" dt="2024-03-18T23:16:08.512" v="1805" actId="1076"/>
          <ac:picMkLst>
            <pc:docMk/>
            <pc:sldMk cId="322481365" sldId="2147482129"/>
            <ac:picMk id="8" creationId="{ECD94D4A-5EC7-699C-9E58-1D6F7FA6DFBB}"/>
          </ac:picMkLst>
        </pc:picChg>
        <pc:cxnChg chg="add mod">
          <ac:chgData name="Jason Melehani" userId="S::jason.melehani@gilead.com::93603e9a-d746-4d7c-89da-7c5ef8b091f7" providerId="AD" clId="Web-{27091F7E-3128-BD31-EB61-CB5E25FC79E7}" dt="2024-03-18T23:16:56.372" v="1859"/>
          <ac:cxnSpMkLst>
            <pc:docMk/>
            <pc:sldMk cId="322481365" sldId="2147482129"/>
            <ac:cxnSpMk id="9" creationId="{D8EF9FAD-2F5C-BD46-62AB-1C77675CCB49}"/>
          </ac:cxnSpMkLst>
        </pc:cxnChg>
        <pc:cxnChg chg="add mod">
          <ac:chgData name="Jason Melehani" userId="S::jason.melehani@gilead.com::93603e9a-d746-4d7c-89da-7c5ef8b091f7" providerId="AD" clId="Web-{27091F7E-3128-BD31-EB61-CB5E25FC79E7}" dt="2024-03-18T23:17:18.638" v="1861" actId="1076"/>
          <ac:cxnSpMkLst>
            <pc:docMk/>
            <pc:sldMk cId="322481365" sldId="2147482129"/>
            <ac:cxnSpMk id="10" creationId="{AAEC0497-A9D1-96FE-6DE4-FAC2A1B39926}"/>
          </ac:cxnSpMkLst>
        </pc:cxnChg>
        <pc:cxnChg chg="add mod">
          <ac:chgData name="Jason Melehani" userId="S::jason.melehani@gilead.com::93603e9a-d746-4d7c-89da-7c5ef8b091f7" providerId="AD" clId="Web-{27091F7E-3128-BD31-EB61-CB5E25FC79E7}" dt="2024-03-18T23:17:25.842" v="1863" actId="1076"/>
          <ac:cxnSpMkLst>
            <pc:docMk/>
            <pc:sldMk cId="322481365" sldId="2147482129"/>
            <ac:cxnSpMk id="11" creationId="{80910D0B-7827-062B-C849-1AE934ED9EEF}"/>
          </ac:cxnSpMkLst>
        </pc:cxnChg>
        <pc:cxnChg chg="add mod">
          <ac:chgData name="Jason Melehani" userId="S::jason.melehani@gilead.com::93603e9a-d746-4d7c-89da-7c5ef8b091f7" providerId="AD" clId="Web-{27091F7E-3128-BD31-EB61-CB5E25FC79E7}" dt="2024-03-18T23:22:34.552" v="1866" actId="1076"/>
          <ac:cxnSpMkLst>
            <pc:docMk/>
            <pc:sldMk cId="322481365" sldId="2147482129"/>
            <ac:cxnSpMk id="12" creationId="{759286F1-7F65-188C-4334-71091C652C7C}"/>
          </ac:cxnSpMkLst>
        </pc:cxnChg>
      </pc:sldChg>
    </pc:docChg>
  </pc:docChgLst>
  <pc:docChgLst>
    <pc:chgData name="Jason Melehani" userId="S::jason.melehani@gilead.com::93603e9a-d746-4d7c-89da-7c5ef8b091f7" providerId="AD" clId="Web-{22E27570-E7CD-6E71-695C-48D387167F16}"/>
    <pc:docChg chg="modSld">
      <pc:chgData name="Jason Melehani" userId="S::jason.melehani@gilead.com::93603e9a-d746-4d7c-89da-7c5ef8b091f7" providerId="AD" clId="Web-{22E27570-E7CD-6E71-695C-48D387167F16}" dt="2024-03-20T03:42:50.644" v="59" actId="20577"/>
      <pc:docMkLst>
        <pc:docMk/>
      </pc:docMkLst>
      <pc:sldChg chg="modSp">
        <pc:chgData name="Jason Melehani" userId="S::jason.melehani@gilead.com::93603e9a-d746-4d7c-89da-7c5ef8b091f7" providerId="AD" clId="Web-{22E27570-E7CD-6E71-695C-48D387167F16}" dt="2024-03-20T03:42:50.644" v="59" actId="20577"/>
        <pc:sldMkLst>
          <pc:docMk/>
          <pc:sldMk cId="1858045540" sldId="2147479482"/>
        </pc:sldMkLst>
        <pc:spChg chg="mod">
          <ac:chgData name="Jason Melehani" userId="S::jason.melehani@gilead.com::93603e9a-d746-4d7c-89da-7c5ef8b091f7" providerId="AD" clId="Web-{22E27570-E7CD-6E71-695C-48D387167F16}" dt="2024-03-20T03:42:50.644" v="59" actId="20577"/>
          <ac:spMkLst>
            <pc:docMk/>
            <pc:sldMk cId="1858045540" sldId="2147479482"/>
            <ac:spMk id="2" creationId="{8785B8C3-7731-9911-8641-6D9960590EA5}"/>
          </ac:spMkLst>
        </pc:spChg>
      </pc:sldChg>
      <pc:sldChg chg="modSp addCm">
        <pc:chgData name="Jason Melehani" userId="S::jason.melehani@gilead.com::93603e9a-d746-4d7c-89da-7c5ef8b091f7" providerId="AD" clId="Web-{22E27570-E7CD-6E71-695C-48D387167F16}" dt="2024-03-20T03:41:26.387" v="57" actId="20577"/>
        <pc:sldMkLst>
          <pc:docMk/>
          <pc:sldMk cId="1250735742" sldId="2147482140"/>
        </pc:sldMkLst>
        <pc:spChg chg="mod">
          <ac:chgData name="Jason Melehani" userId="S::jason.melehani@gilead.com::93603e9a-d746-4d7c-89da-7c5ef8b091f7" providerId="AD" clId="Web-{22E27570-E7CD-6E71-695C-48D387167F16}" dt="2024-03-20T03:41:26.387" v="57" actId="20577"/>
          <ac:spMkLst>
            <pc:docMk/>
            <pc:sldMk cId="1250735742" sldId="2147482140"/>
            <ac:spMk id="3" creationId="{84E7990A-45D4-29D5-9849-9E694B358C8B}"/>
          </ac:spMkLst>
        </pc:spChg>
        <pc:graphicFrameChg chg="mod modGraphic">
          <ac:chgData name="Jason Melehani" userId="S::jason.melehani@gilead.com::93603e9a-d746-4d7c-89da-7c5ef8b091f7" providerId="AD" clId="Web-{22E27570-E7CD-6E71-695C-48D387167F16}" dt="2024-03-20T03:27:40.450" v="14"/>
          <ac:graphicFrameMkLst>
            <pc:docMk/>
            <pc:sldMk cId="1250735742" sldId="2147482140"/>
            <ac:graphicFrameMk id="5" creationId="{91F37556-58DD-6C97-A796-1F5E7CB49954}"/>
          </ac:graphicFrameMkLst>
        </pc:graphicFrameChg>
        <pc:graphicFrameChg chg="mod modGraphic">
          <ac:chgData name="Jason Melehani" userId="S::jason.melehani@gilead.com::93603e9a-d746-4d7c-89da-7c5ef8b091f7" providerId="AD" clId="Web-{22E27570-E7CD-6E71-695C-48D387167F16}" dt="2024-03-20T03:36:03.813" v="20"/>
          <ac:graphicFrameMkLst>
            <pc:docMk/>
            <pc:sldMk cId="1250735742" sldId="2147482140"/>
            <ac:graphicFrameMk id="6" creationId="{9599B004-D8E1-32FA-4DAA-39FA7D214EF2}"/>
          </ac:graphicFrameMkLst>
        </pc:graphicFrameChg>
      </pc:sldChg>
    </pc:docChg>
  </pc:docChgLst>
  <pc:docChgLst>
    <pc:chgData name="Jason Melehani" userId="S::jason.melehani@gilead.com::93603e9a-d746-4d7c-89da-7c5ef8b091f7" providerId="AD" clId="Web-{7FDA7869-7CCA-A874-9C58-5B3B92C36313}"/>
    <pc:docChg chg="">
      <pc:chgData name="Jason Melehani" userId="S::jason.melehani@gilead.com::93603e9a-d746-4d7c-89da-7c5ef8b091f7" providerId="AD" clId="Web-{7FDA7869-7CCA-A874-9C58-5B3B92C36313}" dt="2024-04-03T16:25:57.764" v="0"/>
      <pc:docMkLst>
        <pc:docMk/>
      </pc:docMkLst>
      <pc:sldChg chg="modCm">
        <pc:chgData name="Jason Melehani" userId="S::jason.melehani@gilead.com::93603e9a-d746-4d7c-89da-7c5ef8b091f7" providerId="AD" clId="Web-{7FDA7869-7CCA-A874-9C58-5B3B92C36313}" dt="2024-04-03T16:25:57.764" v="0"/>
        <pc:sldMkLst>
          <pc:docMk/>
          <pc:sldMk cId="2761666500" sldId="2147479478"/>
        </pc:sldMkLst>
      </pc:sldChg>
    </pc:docChg>
  </pc:docChgLst>
  <pc:docChgLst>
    <pc:chgData name="Jason Melehani" userId="S::jason.melehani@gilead.com::93603e9a-d746-4d7c-89da-7c5ef8b091f7" providerId="AD" clId="Web-{57E3B187-4857-9A16-08A7-73660497F3A3}"/>
    <pc:docChg chg="">
      <pc:chgData name="Jason Melehani" userId="S::jason.melehani@gilead.com::93603e9a-d746-4d7c-89da-7c5ef8b091f7" providerId="AD" clId="Web-{57E3B187-4857-9A16-08A7-73660497F3A3}" dt="2024-04-03T00:36:29.609" v="2"/>
      <pc:docMkLst>
        <pc:docMk/>
      </pc:docMkLst>
      <pc:sldChg chg="addCm delCm">
        <pc:chgData name="Jason Melehani" userId="S::jason.melehani@gilead.com::93603e9a-d746-4d7c-89da-7c5ef8b091f7" providerId="AD" clId="Web-{57E3B187-4857-9A16-08A7-73660497F3A3}" dt="2024-04-03T00:36:29.609" v="2"/>
        <pc:sldMkLst>
          <pc:docMk/>
          <pc:sldMk cId="2761666500" sldId="2147479478"/>
        </pc:sldMkLst>
      </pc:sldChg>
    </pc:docChg>
  </pc:docChgLst>
  <pc:docChgLst>
    <pc:chgData name="Jason Melehani" userId="S::jason.melehani@gilead.com::93603e9a-d746-4d7c-89da-7c5ef8b091f7" providerId="AD" clId="Web-{FA72249C-3020-20AD-FDF2-A186DE5DF62A}"/>
    <pc:docChg chg="">
      <pc:chgData name="Jason Melehani" userId="S::jason.melehani@gilead.com::93603e9a-d746-4d7c-89da-7c5ef8b091f7" providerId="AD" clId="Web-{FA72249C-3020-20AD-FDF2-A186DE5DF62A}" dt="2024-03-20T23:27:00.209" v="0"/>
      <pc:docMkLst>
        <pc:docMk/>
      </pc:docMkLst>
      <pc:sldChg chg="modCm">
        <pc:chgData name="Jason Melehani" userId="S::jason.melehani@gilead.com::93603e9a-d746-4d7c-89da-7c5ef8b091f7" providerId="AD" clId="Web-{FA72249C-3020-20AD-FDF2-A186DE5DF62A}" dt="2024-03-20T23:27:00.209" v="0"/>
        <pc:sldMkLst>
          <pc:docMk/>
          <pc:sldMk cId="3163595313" sldId="2147479477"/>
        </pc:sldMkLst>
      </pc:sldChg>
    </pc:docChg>
  </pc:docChgLst>
  <pc:docChgLst>
    <pc:chgData name="Julie Peloquin" userId="S::julie.peloquin@gilead.com::5c74c883-0e1a-441f-9270-90f97de9a2e7" providerId="AD" clId="Web-{ADB5971E-6549-91CA-C210-0C4FD99C4D61}"/>
    <pc:docChg chg="mod modSld sldOrd">
      <pc:chgData name="Julie Peloquin" userId="S::julie.peloquin@gilead.com::5c74c883-0e1a-441f-9270-90f97de9a2e7" providerId="AD" clId="Web-{ADB5971E-6549-91CA-C210-0C4FD99C4D61}" dt="2024-03-19T14:47:48.741" v="28"/>
      <pc:docMkLst>
        <pc:docMk/>
      </pc:docMkLst>
      <pc:sldChg chg="modSp addCm">
        <pc:chgData name="Julie Peloquin" userId="S::julie.peloquin@gilead.com::5c74c883-0e1a-441f-9270-90f97de9a2e7" providerId="AD" clId="Web-{ADB5971E-6549-91CA-C210-0C4FD99C4D61}" dt="2024-03-19T14:47:34.334" v="26"/>
        <pc:sldMkLst>
          <pc:docMk/>
          <pc:sldMk cId="2584841147" sldId="2147471742"/>
        </pc:sldMkLst>
        <pc:graphicFrameChg chg="mod modGraphic">
          <ac:chgData name="Julie Peloquin" userId="S::julie.peloquin@gilead.com::5c74c883-0e1a-441f-9270-90f97de9a2e7" providerId="AD" clId="Web-{ADB5971E-6549-91CA-C210-0C4FD99C4D61}" dt="2024-03-19T14:47:34.334" v="26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  <pc:sldChg chg="modSp ord addCm">
        <pc:chgData name="Julie Peloquin" userId="S::julie.peloquin@gilead.com::5c74c883-0e1a-441f-9270-90f97de9a2e7" providerId="AD" clId="Web-{ADB5971E-6549-91CA-C210-0C4FD99C4D61}" dt="2024-03-19T14:42:52.534" v="17" actId="20577"/>
        <pc:sldMkLst>
          <pc:docMk/>
          <pc:sldMk cId="881740034" sldId="2147479353"/>
        </pc:sldMkLst>
        <pc:spChg chg="mod">
          <ac:chgData name="Julie Peloquin" userId="S::julie.peloquin@gilead.com::5c74c883-0e1a-441f-9270-90f97de9a2e7" providerId="AD" clId="Web-{ADB5971E-6549-91CA-C210-0C4FD99C4D61}" dt="2024-03-19T14:42:52.534" v="17" actId="20577"/>
          <ac:spMkLst>
            <pc:docMk/>
            <pc:sldMk cId="881740034" sldId="2147479353"/>
            <ac:spMk id="3" creationId="{7D836601-6754-9347-8E4F-019A9E8569EC}"/>
          </ac:spMkLst>
        </pc:spChg>
      </pc:sldChg>
      <pc:sldChg chg="modSp">
        <pc:chgData name="Julie Peloquin" userId="S::julie.peloquin@gilead.com::5c74c883-0e1a-441f-9270-90f97de9a2e7" providerId="AD" clId="Web-{ADB5971E-6549-91CA-C210-0C4FD99C4D61}" dt="2024-03-19T14:47:48.741" v="28"/>
        <pc:sldMkLst>
          <pc:docMk/>
          <pc:sldMk cId="2619622909" sldId="2147479481"/>
        </pc:sldMkLst>
        <pc:graphicFrameChg chg="mod modGraphic">
          <ac:chgData name="Julie Peloquin" userId="S::julie.peloquin@gilead.com::5c74c883-0e1a-441f-9270-90f97de9a2e7" providerId="AD" clId="Web-{ADB5971E-6549-91CA-C210-0C4FD99C4D61}" dt="2024-03-19T14:47:48.741" v="28"/>
          <ac:graphicFrameMkLst>
            <pc:docMk/>
            <pc:sldMk cId="2619622909" sldId="2147479481"/>
            <ac:graphicFrameMk id="2" creationId="{3B163526-BF01-46CA-8C94-CE7564279017}"/>
          </ac:graphicFrameMkLst>
        </pc:graphicFrameChg>
      </pc:sldChg>
      <pc:sldChg chg="modCm">
        <pc:chgData name="Julie Peloquin" userId="S::julie.peloquin@gilead.com::5c74c883-0e1a-441f-9270-90f97de9a2e7" providerId="AD" clId="Web-{ADB5971E-6549-91CA-C210-0C4FD99C4D61}" dt="2024-03-19T14:44:57.042" v="19"/>
        <pc:sldMkLst>
          <pc:docMk/>
          <pc:sldMk cId="3450164358" sldId="2147482128"/>
        </pc:sldMkLst>
      </pc:sldChg>
    </pc:docChg>
  </pc:docChgLst>
  <pc:docChgLst>
    <pc:chgData name="Julie Peloquin" userId="S::julie.peloquin@gilead.com::5c74c883-0e1a-441f-9270-90f97de9a2e7" providerId="AD" clId="Web-{A5F26489-241A-48E4-0AE3-30613763608E}"/>
    <pc:docChg chg="modSld">
      <pc:chgData name="Julie Peloquin" userId="S::julie.peloquin@gilead.com::5c74c883-0e1a-441f-9270-90f97de9a2e7" providerId="AD" clId="Web-{A5F26489-241A-48E4-0AE3-30613763608E}" dt="2024-03-19T17:23:29.710" v="363"/>
      <pc:docMkLst>
        <pc:docMk/>
      </pc:docMkLst>
      <pc:sldChg chg="modSp">
        <pc:chgData name="Julie Peloquin" userId="S::julie.peloquin@gilead.com::5c74c883-0e1a-441f-9270-90f97de9a2e7" providerId="AD" clId="Web-{A5F26489-241A-48E4-0AE3-30613763608E}" dt="2024-03-19T17:23:29.710" v="363"/>
        <pc:sldMkLst>
          <pc:docMk/>
          <pc:sldMk cId="2584841147" sldId="2147471742"/>
        </pc:sldMkLst>
        <pc:graphicFrameChg chg="mod modGraphic">
          <ac:chgData name="Julie Peloquin" userId="S::julie.peloquin@gilead.com::5c74c883-0e1a-441f-9270-90f97de9a2e7" providerId="AD" clId="Web-{A5F26489-241A-48E4-0AE3-30613763608E}" dt="2024-03-19T17:23:29.710" v="363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  <pc:sldChg chg="modSp">
        <pc:chgData name="Julie Peloquin" userId="S::julie.peloquin@gilead.com::5c74c883-0e1a-441f-9270-90f97de9a2e7" providerId="AD" clId="Web-{A5F26489-241A-48E4-0AE3-30613763608E}" dt="2024-03-19T17:23:13.382" v="359"/>
        <pc:sldMkLst>
          <pc:docMk/>
          <pc:sldMk cId="2619622909" sldId="2147479481"/>
        </pc:sldMkLst>
        <pc:graphicFrameChg chg="mod modGraphic">
          <ac:chgData name="Julie Peloquin" userId="S::julie.peloquin@gilead.com::5c74c883-0e1a-441f-9270-90f97de9a2e7" providerId="AD" clId="Web-{A5F26489-241A-48E4-0AE3-30613763608E}" dt="2024-03-19T17:23:13.382" v="359"/>
          <ac:graphicFrameMkLst>
            <pc:docMk/>
            <pc:sldMk cId="2619622909" sldId="2147479481"/>
            <ac:graphicFrameMk id="2" creationId="{3B163526-BF01-46CA-8C94-CE7564279017}"/>
          </ac:graphicFrameMkLst>
        </pc:graphicFrameChg>
      </pc:sldChg>
    </pc:docChg>
  </pc:docChgLst>
  <pc:docChgLst>
    <pc:chgData name="Jun Xu" userId="S::jxu02@gilead.com::16503f38-d1f6-4183-be87-545c60b6292a" providerId="AD" clId="Web-{C2C80DA3-2100-5040-E20D-8DD3BA44F7C4}"/>
    <pc:docChg chg="modSld">
      <pc:chgData name="Jun Xu" userId="S::jxu02@gilead.com::16503f38-d1f6-4183-be87-545c60b6292a" providerId="AD" clId="Web-{C2C80DA3-2100-5040-E20D-8DD3BA44F7C4}" dt="2024-03-25T23:19:31.779" v="62"/>
      <pc:docMkLst>
        <pc:docMk/>
      </pc:docMkLst>
      <pc:sldChg chg="delSp modSp modCm">
        <pc:chgData name="Jun Xu" userId="S::jxu02@gilead.com::16503f38-d1f6-4183-be87-545c60b6292a" providerId="AD" clId="Web-{C2C80DA3-2100-5040-E20D-8DD3BA44F7C4}" dt="2024-03-25T23:17:08.489" v="61" actId="1076"/>
        <pc:sldMkLst>
          <pc:docMk/>
          <pc:sldMk cId="3190076938" sldId="2147472670"/>
        </pc:sldMkLst>
        <pc:spChg chg="mod">
          <ac:chgData name="Jun Xu" userId="S::jxu02@gilead.com::16503f38-d1f6-4183-be87-545c60b6292a" providerId="AD" clId="Web-{C2C80DA3-2100-5040-E20D-8DD3BA44F7C4}" dt="2024-03-25T23:16:40.128" v="5" actId="1076"/>
          <ac:spMkLst>
            <pc:docMk/>
            <pc:sldMk cId="3190076938" sldId="2147472670"/>
            <ac:spMk id="3" creationId="{12944062-3DB7-481B-6AC8-FA73EA2EC098}"/>
          </ac:spMkLst>
        </pc:spChg>
        <pc:graphicFrameChg chg="del">
          <ac:chgData name="Jun Xu" userId="S::jxu02@gilead.com::16503f38-d1f6-4183-be87-545c60b6292a" providerId="AD" clId="Web-{C2C80DA3-2100-5040-E20D-8DD3BA44F7C4}" dt="2024-03-25T23:16:23.533" v="1"/>
          <ac:graphicFrameMkLst>
            <pc:docMk/>
            <pc:sldMk cId="3190076938" sldId="2147472670"/>
            <ac:graphicFrameMk id="5" creationId="{C020DC79-BE8E-DD0A-6E5E-15395307C79D}"/>
          </ac:graphicFrameMkLst>
        </pc:graphicFrameChg>
        <pc:graphicFrameChg chg="mod modGraphic">
          <ac:chgData name="Jun Xu" userId="S::jxu02@gilead.com::16503f38-d1f6-4183-be87-545c60b6292a" providerId="AD" clId="Web-{C2C80DA3-2100-5040-E20D-8DD3BA44F7C4}" dt="2024-03-25T23:17:08.489" v="61" actId="1076"/>
          <ac:graphicFrameMkLst>
            <pc:docMk/>
            <pc:sldMk cId="3190076938" sldId="2147472670"/>
            <ac:graphicFrameMk id="9" creationId="{7B1B46F3-01F0-C359-2115-41CB246AA563}"/>
          </ac:graphicFrameMkLst>
        </pc:graphicFrameChg>
      </pc:sldChg>
      <pc:sldChg chg="modCm">
        <pc:chgData name="Jun Xu" userId="S::jxu02@gilead.com::16503f38-d1f6-4183-be87-545c60b6292a" providerId="AD" clId="Web-{C2C80DA3-2100-5040-E20D-8DD3BA44F7C4}" dt="2024-03-25T23:19:31.779" v="62"/>
        <pc:sldMkLst>
          <pc:docMk/>
          <pc:sldMk cId="3149000909" sldId="2147482143"/>
        </pc:sldMkLst>
      </pc:sldChg>
    </pc:docChg>
  </pc:docChgLst>
  <pc:docChgLst>
    <pc:chgData name="Aansh Jarmarwala" userId="d1ecf981-ff73-4c49-9aea-3992e9fcc385" providerId="ADAL" clId="{93B0894D-B100-BD4B-9449-9BCB556D3587}"/>
    <pc:docChg chg="undo custSel modSld">
      <pc:chgData name="Aansh Jarmarwala" userId="d1ecf981-ff73-4c49-9aea-3992e9fcc385" providerId="ADAL" clId="{93B0894D-B100-BD4B-9449-9BCB556D3587}" dt="2024-03-19T23:28:48.689" v="931" actId="20577"/>
      <pc:docMkLst>
        <pc:docMk/>
      </pc:docMkLst>
      <pc:sldChg chg="modSp mod">
        <pc:chgData name="Aansh Jarmarwala" userId="d1ecf981-ff73-4c49-9aea-3992e9fcc385" providerId="ADAL" clId="{93B0894D-B100-BD4B-9449-9BCB556D3587}" dt="2024-03-19T23:28:48.689" v="931" actId="20577"/>
        <pc:sldMkLst>
          <pc:docMk/>
          <pc:sldMk cId="11518599" sldId="2147308834"/>
        </pc:sldMkLst>
        <pc:spChg chg="mod">
          <ac:chgData name="Aansh Jarmarwala" userId="d1ecf981-ff73-4c49-9aea-3992e9fcc385" providerId="ADAL" clId="{93B0894D-B100-BD4B-9449-9BCB556D3587}" dt="2024-03-19T23:28:48.689" v="931" actId="20577"/>
          <ac:spMkLst>
            <pc:docMk/>
            <pc:sldMk cId="11518599" sldId="2147308834"/>
            <ac:spMk id="3" creationId="{71B74FEB-1A2D-FF9C-BA35-C7DAD4E39E8F}"/>
          </ac:spMkLst>
        </pc:spChg>
      </pc:sldChg>
      <pc:sldChg chg="modSp mod addCm modCm">
        <pc:chgData name="Aansh Jarmarwala" userId="d1ecf981-ff73-4c49-9aea-3992e9fcc385" providerId="ADAL" clId="{93B0894D-B100-BD4B-9449-9BCB556D3587}" dt="2024-03-19T21:59:18.681" v="7" actId="20577"/>
        <pc:sldMkLst>
          <pc:docMk/>
          <pc:sldMk cId="881740034" sldId="2147479353"/>
        </pc:sldMkLst>
        <pc:spChg chg="mod">
          <ac:chgData name="Aansh Jarmarwala" userId="d1ecf981-ff73-4c49-9aea-3992e9fcc385" providerId="ADAL" clId="{93B0894D-B100-BD4B-9449-9BCB556D3587}" dt="2024-03-19T21:59:18.681" v="7" actId="20577"/>
          <ac:spMkLst>
            <pc:docMk/>
            <pc:sldMk cId="881740034" sldId="2147479353"/>
            <ac:spMk id="3" creationId="{7D836601-6754-9347-8E4F-019A9E8569EC}"/>
          </ac:spMkLst>
        </pc:spChg>
      </pc:sldChg>
      <pc:sldChg chg="modSp mod">
        <pc:chgData name="Aansh Jarmarwala" userId="d1ecf981-ff73-4c49-9aea-3992e9fcc385" providerId="ADAL" clId="{93B0894D-B100-BD4B-9449-9BCB556D3587}" dt="2024-03-19T22:51:58.749" v="686" actId="20577"/>
        <pc:sldMkLst>
          <pc:docMk/>
          <pc:sldMk cId="2778654706" sldId="2147479426"/>
        </pc:sldMkLst>
        <pc:spChg chg="mod">
          <ac:chgData name="Aansh Jarmarwala" userId="d1ecf981-ff73-4c49-9aea-3992e9fcc385" providerId="ADAL" clId="{93B0894D-B100-BD4B-9449-9BCB556D3587}" dt="2024-03-19T22:51:58.749" v="686" actId="20577"/>
          <ac:spMkLst>
            <pc:docMk/>
            <pc:sldMk cId="2778654706" sldId="2147479426"/>
            <ac:spMk id="3" creationId="{C6145EF6-3760-64C2-0384-F9533F7A9648}"/>
          </ac:spMkLst>
        </pc:spChg>
      </pc:sldChg>
      <pc:sldChg chg="modCm">
        <pc:chgData name="Aansh Jarmarwala" userId="d1ecf981-ff73-4c49-9aea-3992e9fcc385" providerId="ADAL" clId="{93B0894D-B100-BD4B-9449-9BCB556D3587}" dt="2024-03-14T19:34:05.949" v="0" actId="2056"/>
        <pc:sldMkLst>
          <pc:docMk/>
          <pc:sldMk cId="2531188512" sldId="2147479476"/>
        </pc:sldMkLst>
      </pc:sldChg>
      <pc:sldChg chg="modSp mod addCm">
        <pc:chgData name="Aansh Jarmarwala" userId="d1ecf981-ff73-4c49-9aea-3992e9fcc385" providerId="ADAL" clId="{93B0894D-B100-BD4B-9449-9BCB556D3587}" dt="2024-03-19T22:55:22.472" v="823" actId="1076"/>
        <pc:sldMkLst>
          <pc:docMk/>
          <pc:sldMk cId="3450164358" sldId="2147482128"/>
        </pc:sldMkLst>
        <pc:spChg chg="mod">
          <ac:chgData name="Aansh Jarmarwala" userId="d1ecf981-ff73-4c49-9aea-3992e9fcc385" providerId="ADAL" clId="{93B0894D-B100-BD4B-9449-9BCB556D3587}" dt="2024-03-19T22:55:22.472" v="823" actId="1076"/>
          <ac:spMkLst>
            <pc:docMk/>
            <pc:sldMk cId="3450164358" sldId="2147482128"/>
            <ac:spMk id="5" creationId="{4F3F71A0-5CD2-E964-367D-AC7A5470FDB0}"/>
          </ac:spMkLst>
        </pc:spChg>
        <pc:graphicFrameChg chg="mod modGraphic">
          <ac:chgData name="Aansh Jarmarwala" userId="d1ecf981-ff73-4c49-9aea-3992e9fcc385" providerId="ADAL" clId="{93B0894D-B100-BD4B-9449-9BCB556D3587}" dt="2024-03-19T22:55:07.381" v="821" actId="20577"/>
          <ac:graphicFrameMkLst>
            <pc:docMk/>
            <pc:sldMk cId="3450164358" sldId="2147482128"/>
            <ac:graphicFrameMk id="4" creationId="{BE38E089-BBF7-5339-EF73-F68B7686C21D}"/>
          </ac:graphicFrameMkLst>
        </pc:graphicFrameChg>
      </pc:sldChg>
    </pc:docChg>
  </pc:docChgLst>
  <pc:docChgLst>
    <pc:chgData name="JaeB Kim" userId="S::jaeb.kim31@gilead.com::4d3b572d-d26a-4ed7-92e4-3ecc7b648986" providerId="AD" clId="Web-{7FEB2980-75BF-F532-BCF7-CFA9A706F7AA}"/>
    <pc:docChg chg="mod">
      <pc:chgData name="JaeB Kim" userId="S::jaeb.kim31@gilead.com::4d3b572d-d26a-4ed7-92e4-3ecc7b648986" providerId="AD" clId="Web-{7FEB2980-75BF-F532-BCF7-CFA9A706F7AA}" dt="2024-03-20T04:33:17.020" v="2"/>
      <pc:docMkLst>
        <pc:docMk/>
      </pc:docMkLst>
      <pc:sldChg chg="addCm modCm">
        <pc:chgData name="JaeB Kim" userId="S::jaeb.kim31@gilead.com::4d3b572d-d26a-4ed7-92e4-3ecc7b648986" providerId="AD" clId="Web-{7FEB2980-75BF-F532-BCF7-CFA9A706F7AA}" dt="2024-03-20T04:33:17.020" v="2"/>
        <pc:sldMkLst>
          <pc:docMk/>
          <pc:sldMk cId="4270880167" sldId="2147479467"/>
        </pc:sldMkLst>
      </pc:sldChg>
    </pc:docChg>
  </pc:docChgLst>
  <pc:docChgLst>
    <pc:chgData name="Elijah Weber" userId="S::eweber@gilead.com::3845fdcd-7f4a-4ae0-9bbf-dad4a5b939df" providerId="AD" clId="Web-{B71F4308-B263-85B0-DBA6-931C21856FF6}"/>
    <pc:docChg chg="modSld">
      <pc:chgData name="Elijah Weber" userId="S::eweber@gilead.com::3845fdcd-7f4a-4ae0-9bbf-dad4a5b939df" providerId="AD" clId="Web-{B71F4308-B263-85B0-DBA6-931C21856FF6}" dt="2024-03-19T20:19:01.459" v="487"/>
      <pc:docMkLst>
        <pc:docMk/>
      </pc:docMkLst>
      <pc:sldChg chg="modSp modCm">
        <pc:chgData name="Elijah Weber" userId="S::eweber@gilead.com::3845fdcd-7f4a-4ae0-9bbf-dad4a5b939df" providerId="AD" clId="Web-{B71F4308-B263-85B0-DBA6-931C21856FF6}" dt="2024-03-19T20:19:01.459" v="487"/>
        <pc:sldMkLst>
          <pc:docMk/>
          <pc:sldMk cId="2584841147" sldId="2147471742"/>
        </pc:sldMkLst>
        <pc:graphicFrameChg chg="mod modGraphic">
          <ac:chgData name="Elijah Weber" userId="S::eweber@gilead.com::3845fdcd-7f4a-4ae0-9bbf-dad4a5b939df" providerId="AD" clId="Web-{B71F4308-B263-85B0-DBA6-931C21856FF6}" dt="2024-03-19T20:19:01.459" v="487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</pc:docChg>
  </pc:docChgLst>
  <pc:docChgLst>
    <pc:chgData name="Lisa Boyette" userId="24cc2e01-2130-4f78-ae8d-8253b197adea" providerId="ADAL" clId="{1B5C0615-A127-4B03-AB66-EF2271B961D1}"/>
    <pc:docChg chg="custSel delSld modSld sldOrd modSection">
      <pc:chgData name="Lisa Boyette" userId="24cc2e01-2130-4f78-ae8d-8253b197adea" providerId="ADAL" clId="{1B5C0615-A127-4B03-AB66-EF2271B961D1}" dt="2024-05-15T21:13:00.409" v="318" actId="20577"/>
      <pc:docMkLst>
        <pc:docMk/>
      </pc:docMkLst>
      <pc:sldChg chg="modSp mod">
        <pc:chgData name="Lisa Boyette" userId="24cc2e01-2130-4f78-ae8d-8253b197adea" providerId="ADAL" clId="{1B5C0615-A127-4B03-AB66-EF2271B961D1}" dt="2024-05-14T18:09:30.509" v="2" actId="20577"/>
        <pc:sldMkLst>
          <pc:docMk/>
          <pc:sldMk cId="946590102" sldId="2147308821"/>
        </pc:sldMkLst>
        <pc:spChg chg="mod">
          <ac:chgData name="Lisa Boyette" userId="24cc2e01-2130-4f78-ae8d-8253b197adea" providerId="ADAL" clId="{1B5C0615-A127-4B03-AB66-EF2271B961D1}" dt="2024-05-14T18:09:30.509" v="2" actId="20577"/>
          <ac:spMkLst>
            <pc:docMk/>
            <pc:sldMk cId="946590102" sldId="2147308821"/>
            <ac:spMk id="7" creationId="{C7828341-2BCE-849E-EEE1-114988FCFFFB}"/>
          </ac:spMkLst>
        </pc:spChg>
      </pc:sldChg>
      <pc:sldChg chg="modSp mod">
        <pc:chgData name="Lisa Boyette" userId="24cc2e01-2130-4f78-ae8d-8253b197adea" providerId="ADAL" clId="{1B5C0615-A127-4B03-AB66-EF2271B961D1}" dt="2024-05-14T20:57:10.117" v="23" actId="20577"/>
        <pc:sldMkLst>
          <pc:docMk/>
          <pc:sldMk cId="11518599" sldId="2147308834"/>
        </pc:sldMkLst>
        <pc:spChg chg="mod">
          <ac:chgData name="Lisa Boyette" userId="24cc2e01-2130-4f78-ae8d-8253b197adea" providerId="ADAL" clId="{1B5C0615-A127-4B03-AB66-EF2271B961D1}" dt="2024-05-14T20:57:10.117" v="23" actId="20577"/>
          <ac:spMkLst>
            <pc:docMk/>
            <pc:sldMk cId="11518599" sldId="2147308834"/>
            <ac:spMk id="3" creationId="{71B74FEB-1A2D-FF9C-BA35-C7DAD4E39E8F}"/>
          </ac:spMkLst>
        </pc:spChg>
      </pc:sldChg>
      <pc:sldChg chg="del">
        <pc:chgData name="Lisa Boyette" userId="24cc2e01-2130-4f78-ae8d-8253b197adea" providerId="ADAL" clId="{1B5C0615-A127-4B03-AB66-EF2271B961D1}" dt="2024-05-15T19:58:35.940" v="280" actId="47"/>
        <pc:sldMkLst>
          <pc:docMk/>
          <pc:sldMk cId="3796450451" sldId="2147479360"/>
        </pc:sldMkLst>
      </pc:sldChg>
      <pc:sldChg chg="del">
        <pc:chgData name="Lisa Boyette" userId="24cc2e01-2130-4f78-ae8d-8253b197adea" providerId="ADAL" clId="{1B5C0615-A127-4B03-AB66-EF2271B961D1}" dt="2024-05-14T20:56:09.976" v="22" actId="47"/>
        <pc:sldMkLst>
          <pc:docMk/>
          <pc:sldMk cId="2778654706" sldId="2147479426"/>
        </pc:sldMkLst>
      </pc:sldChg>
      <pc:sldChg chg="modSp mod modClrScheme chgLayout">
        <pc:chgData name="Lisa Boyette" userId="24cc2e01-2130-4f78-ae8d-8253b197adea" providerId="ADAL" clId="{1B5C0615-A127-4B03-AB66-EF2271B961D1}" dt="2024-05-15T21:13:00.409" v="318" actId="20577"/>
        <pc:sldMkLst>
          <pc:docMk/>
          <pc:sldMk cId="1858045540" sldId="2147479482"/>
        </pc:sldMkLst>
        <pc:spChg chg="mod ord">
          <ac:chgData name="Lisa Boyette" userId="24cc2e01-2130-4f78-ae8d-8253b197adea" providerId="ADAL" clId="{1B5C0615-A127-4B03-AB66-EF2271B961D1}" dt="2024-05-15T21:13:00.409" v="318" actId="20577"/>
          <ac:spMkLst>
            <pc:docMk/>
            <pc:sldMk cId="1858045540" sldId="2147479482"/>
            <ac:spMk id="2" creationId="{8785B8C3-7731-9911-8641-6D9960590EA5}"/>
          </ac:spMkLst>
        </pc:spChg>
        <pc:spChg chg="mod ord">
          <ac:chgData name="Lisa Boyette" userId="24cc2e01-2130-4f78-ae8d-8253b197adea" providerId="ADAL" clId="{1B5C0615-A127-4B03-AB66-EF2271B961D1}" dt="2024-05-15T21:12:07.948" v="291" actId="700"/>
          <ac:spMkLst>
            <pc:docMk/>
            <pc:sldMk cId="1858045540" sldId="2147479482"/>
            <ac:spMk id="4" creationId="{C887F2F0-5FD4-6B44-BF9D-793AF6BA4391}"/>
          </ac:spMkLst>
        </pc:spChg>
        <pc:spChg chg="mod ord">
          <ac:chgData name="Lisa Boyette" userId="24cc2e01-2130-4f78-ae8d-8253b197adea" providerId="ADAL" clId="{1B5C0615-A127-4B03-AB66-EF2271B961D1}" dt="2024-05-15T21:12:07.948" v="291" actId="700"/>
          <ac:spMkLst>
            <pc:docMk/>
            <pc:sldMk cId="1858045540" sldId="2147479482"/>
            <ac:spMk id="7" creationId="{A66CD013-7304-C3F8-258A-63D95941A691}"/>
          </ac:spMkLst>
        </pc:spChg>
      </pc:sldChg>
      <pc:sldChg chg="modSp mod">
        <pc:chgData name="Lisa Boyette" userId="24cc2e01-2130-4f78-ae8d-8253b197adea" providerId="ADAL" clId="{1B5C0615-A127-4B03-AB66-EF2271B961D1}" dt="2024-05-14T21:00:00.864" v="278" actId="20577"/>
        <pc:sldMkLst>
          <pc:docMk/>
          <pc:sldMk cId="3187643702" sldId="2147482132"/>
        </pc:sldMkLst>
        <pc:spChg chg="mod">
          <ac:chgData name="Lisa Boyette" userId="24cc2e01-2130-4f78-ae8d-8253b197adea" providerId="ADAL" clId="{1B5C0615-A127-4B03-AB66-EF2271B961D1}" dt="2024-05-14T21:00:00.864" v="278" actId="20577"/>
          <ac:spMkLst>
            <pc:docMk/>
            <pc:sldMk cId="3187643702" sldId="2147482132"/>
            <ac:spMk id="2" creationId="{3D321EFC-5E8A-9953-7B24-8FEBE70A13E4}"/>
          </ac:spMkLst>
        </pc:spChg>
      </pc:sldChg>
      <pc:sldChg chg="modSp mod ord modClrScheme chgLayout">
        <pc:chgData name="Lisa Boyette" userId="24cc2e01-2130-4f78-ae8d-8253b197adea" providerId="ADAL" clId="{1B5C0615-A127-4B03-AB66-EF2271B961D1}" dt="2024-05-15T21:10:54.724" v="287" actId="14100"/>
        <pc:sldMkLst>
          <pc:docMk/>
          <pc:sldMk cId="1250735742" sldId="2147482140"/>
        </pc:sldMkLst>
        <pc:spChg chg="mod ord">
          <ac:chgData name="Lisa Boyette" userId="24cc2e01-2130-4f78-ae8d-8253b197adea" providerId="ADAL" clId="{1B5C0615-A127-4B03-AB66-EF2271B961D1}" dt="2024-05-15T21:10:28.148" v="283" actId="700"/>
          <ac:spMkLst>
            <pc:docMk/>
            <pc:sldMk cId="1250735742" sldId="2147482140"/>
            <ac:spMk id="2" creationId="{E3674C14-BAB4-3D1D-8518-911CBCFE92D5}"/>
          </ac:spMkLst>
        </pc:spChg>
        <pc:spChg chg="mod ord">
          <ac:chgData name="Lisa Boyette" userId="24cc2e01-2130-4f78-ae8d-8253b197adea" providerId="ADAL" clId="{1B5C0615-A127-4B03-AB66-EF2271B961D1}" dt="2024-05-15T21:10:54.724" v="287" actId="14100"/>
          <ac:spMkLst>
            <pc:docMk/>
            <pc:sldMk cId="1250735742" sldId="2147482140"/>
            <ac:spMk id="3" creationId="{84E7990A-45D4-29D5-9849-9E694B358C8B}"/>
          </ac:spMkLst>
        </pc:spChg>
        <pc:spChg chg="mod ord">
          <ac:chgData name="Lisa Boyette" userId="24cc2e01-2130-4f78-ae8d-8253b197adea" providerId="ADAL" clId="{1B5C0615-A127-4B03-AB66-EF2271B961D1}" dt="2024-05-15T21:10:28.148" v="283" actId="700"/>
          <ac:spMkLst>
            <pc:docMk/>
            <pc:sldMk cId="1250735742" sldId="2147482140"/>
            <ac:spMk id="4" creationId="{9226AE72-EE81-C255-9192-EA269B56232F}"/>
          </ac:spMkLst>
        </pc:spChg>
      </pc:sldChg>
      <pc:sldChg chg="modSp mod">
        <pc:chgData name="Lisa Boyette" userId="24cc2e01-2130-4f78-ae8d-8253b197adea" providerId="ADAL" clId="{1B5C0615-A127-4B03-AB66-EF2271B961D1}" dt="2024-05-14T20:59:21.039" v="248" actId="20577"/>
        <pc:sldMkLst>
          <pc:docMk/>
          <pc:sldMk cId="2837651119" sldId="2147482142"/>
        </pc:sldMkLst>
        <pc:spChg chg="mod">
          <ac:chgData name="Lisa Boyette" userId="24cc2e01-2130-4f78-ae8d-8253b197adea" providerId="ADAL" clId="{1B5C0615-A127-4B03-AB66-EF2271B961D1}" dt="2024-05-14T20:59:21.039" v="248" actId="20577"/>
          <ac:spMkLst>
            <pc:docMk/>
            <pc:sldMk cId="2837651119" sldId="2147482142"/>
            <ac:spMk id="3" creationId="{7D836601-6754-9347-8E4F-019A9E8569EC}"/>
          </ac:spMkLst>
        </pc:spChg>
      </pc:sldChg>
      <pc:sldChg chg="modSp mod modClrScheme chgLayout">
        <pc:chgData name="Lisa Boyette" userId="24cc2e01-2130-4f78-ae8d-8253b197adea" providerId="ADAL" clId="{1B5C0615-A127-4B03-AB66-EF2271B961D1}" dt="2024-05-15T21:11:50.970" v="290" actId="700"/>
        <pc:sldMkLst>
          <pc:docMk/>
          <pc:sldMk cId="361833081" sldId="2147482145"/>
        </pc:sldMkLst>
        <pc:spChg chg="mod ord">
          <ac:chgData name="Lisa Boyette" userId="24cc2e01-2130-4f78-ae8d-8253b197adea" providerId="ADAL" clId="{1B5C0615-A127-4B03-AB66-EF2271B961D1}" dt="2024-05-15T21:11:50.970" v="290" actId="700"/>
          <ac:spMkLst>
            <pc:docMk/>
            <pc:sldMk cId="361833081" sldId="2147482145"/>
            <ac:spMk id="2" creationId="{D132E6B5-E485-60D5-5F30-E987FCBD1CD8}"/>
          </ac:spMkLst>
        </pc:spChg>
        <pc:spChg chg="mod ord">
          <ac:chgData name="Lisa Boyette" userId="24cc2e01-2130-4f78-ae8d-8253b197adea" providerId="ADAL" clId="{1B5C0615-A127-4B03-AB66-EF2271B961D1}" dt="2024-05-15T21:11:50.970" v="290" actId="700"/>
          <ac:spMkLst>
            <pc:docMk/>
            <pc:sldMk cId="361833081" sldId="2147482145"/>
            <ac:spMk id="4" creationId="{F8B97EA5-0D27-85E2-5B35-5ED810AE7D25}"/>
          </ac:spMkLst>
        </pc:spChg>
      </pc:sldChg>
      <pc:sldChg chg="del">
        <pc:chgData name="Lisa Boyette" userId="24cc2e01-2130-4f78-ae8d-8253b197adea" providerId="ADAL" clId="{1B5C0615-A127-4B03-AB66-EF2271B961D1}" dt="2024-05-15T19:54:40.966" v="279" actId="47"/>
        <pc:sldMkLst>
          <pc:docMk/>
          <pc:sldMk cId="3823604198" sldId="2147482147"/>
        </pc:sldMkLst>
      </pc:sldChg>
      <pc:sldChg chg="del">
        <pc:chgData name="Lisa Boyette" userId="24cc2e01-2130-4f78-ae8d-8253b197adea" providerId="ADAL" clId="{1B5C0615-A127-4B03-AB66-EF2271B961D1}" dt="2024-05-14T20:55:53.988" v="20" actId="47"/>
        <pc:sldMkLst>
          <pc:docMk/>
          <pc:sldMk cId="1537990309" sldId="2147482150"/>
        </pc:sldMkLst>
      </pc:sldChg>
      <pc:sldChg chg="modSp mod modClrScheme chgLayout">
        <pc:chgData name="Lisa Boyette" userId="24cc2e01-2130-4f78-ae8d-8253b197adea" providerId="ADAL" clId="{1B5C0615-A127-4B03-AB66-EF2271B961D1}" dt="2024-05-15T21:11:10.033" v="289" actId="14100"/>
        <pc:sldMkLst>
          <pc:docMk/>
          <pc:sldMk cId="2116408602" sldId="2147482151"/>
        </pc:sldMkLst>
        <pc:spChg chg="mod ord">
          <ac:chgData name="Lisa Boyette" userId="24cc2e01-2130-4f78-ae8d-8253b197adea" providerId="ADAL" clId="{1B5C0615-A127-4B03-AB66-EF2271B961D1}" dt="2024-05-15T21:11:10.033" v="289" actId="14100"/>
          <ac:spMkLst>
            <pc:docMk/>
            <pc:sldMk cId="2116408602" sldId="2147482151"/>
            <ac:spMk id="2" creationId="{D132E6B5-E485-60D5-5F30-E987FCBD1CD8}"/>
          </ac:spMkLst>
        </pc:spChg>
        <pc:spChg chg="mod ord">
          <ac:chgData name="Lisa Boyette" userId="24cc2e01-2130-4f78-ae8d-8253b197adea" providerId="ADAL" clId="{1B5C0615-A127-4B03-AB66-EF2271B961D1}" dt="2024-05-15T21:11:04.853" v="288" actId="700"/>
          <ac:spMkLst>
            <pc:docMk/>
            <pc:sldMk cId="2116408602" sldId="2147482151"/>
            <ac:spMk id="4" creationId="{F8B97EA5-0D27-85E2-5B35-5ED810AE7D25}"/>
          </ac:spMkLst>
        </pc:spChg>
      </pc:sldChg>
      <pc:sldChg chg="modSp del mod">
        <pc:chgData name="Lisa Boyette" userId="24cc2e01-2130-4f78-ae8d-8253b197adea" providerId="ADAL" clId="{1B5C0615-A127-4B03-AB66-EF2271B961D1}" dt="2024-05-14T20:56:02.431" v="21" actId="47"/>
        <pc:sldMkLst>
          <pc:docMk/>
          <pc:sldMk cId="70275736" sldId="2147482152"/>
        </pc:sldMkLst>
        <pc:spChg chg="mod">
          <ac:chgData name="Lisa Boyette" userId="24cc2e01-2130-4f78-ae8d-8253b197adea" providerId="ADAL" clId="{1B5C0615-A127-4B03-AB66-EF2271B961D1}" dt="2024-05-14T18:10:40.787" v="19" actId="20577"/>
          <ac:spMkLst>
            <pc:docMk/>
            <pc:sldMk cId="70275736" sldId="2147482152"/>
            <ac:spMk id="394" creationId="{A53A88F1-B1C8-CC0B-8E0E-6C37074DCDA3}"/>
          </ac:spMkLst>
        </pc:spChg>
        <pc:spChg chg="mod">
          <ac:chgData name="Lisa Boyette" userId="24cc2e01-2130-4f78-ae8d-8253b197adea" providerId="ADAL" clId="{1B5C0615-A127-4B03-AB66-EF2271B961D1}" dt="2024-05-14T18:10:34.043" v="9" actId="20577"/>
          <ac:spMkLst>
            <pc:docMk/>
            <pc:sldMk cId="70275736" sldId="2147482152"/>
            <ac:spMk id="396" creationId="{CAEA1D50-06AE-AED6-B894-68843D202B27}"/>
          </ac:spMkLst>
        </pc:spChg>
      </pc:sldChg>
    </pc:docChg>
  </pc:docChgLst>
  <pc:docChgLst>
    <pc:chgData name="Jason Melehani" userId="S::jason.melehani@gilead.com::93603e9a-d746-4d7c-89da-7c5ef8b091f7" providerId="AD" clId="Web-{32563FCC-CD0A-8D5A-3FF2-5F129BD0EC5F}"/>
    <pc:docChg chg="modSld">
      <pc:chgData name="Jason Melehani" userId="S::jason.melehani@gilead.com::93603e9a-d746-4d7c-89da-7c5ef8b091f7" providerId="AD" clId="Web-{32563FCC-CD0A-8D5A-3FF2-5F129BD0EC5F}" dt="2024-03-20T03:21:40.380" v="39"/>
      <pc:docMkLst>
        <pc:docMk/>
      </pc:docMkLst>
      <pc:sldChg chg="modSp">
        <pc:chgData name="Jason Melehani" userId="S::jason.melehani@gilead.com::93603e9a-d746-4d7c-89da-7c5ef8b091f7" providerId="AD" clId="Web-{32563FCC-CD0A-8D5A-3FF2-5F129BD0EC5F}" dt="2024-03-20T03:21:40.380" v="39"/>
        <pc:sldMkLst>
          <pc:docMk/>
          <pc:sldMk cId="1250735742" sldId="2147482140"/>
        </pc:sldMkLst>
        <pc:graphicFrameChg chg="mod modGraphic">
          <ac:chgData name="Jason Melehani" userId="S::jason.melehani@gilead.com::93603e9a-d746-4d7c-89da-7c5ef8b091f7" providerId="AD" clId="Web-{32563FCC-CD0A-8D5A-3FF2-5F129BD0EC5F}" dt="2024-03-20T03:21:40.380" v="39"/>
          <ac:graphicFrameMkLst>
            <pc:docMk/>
            <pc:sldMk cId="1250735742" sldId="2147482140"/>
            <ac:graphicFrameMk id="5" creationId="{91F37556-58DD-6C97-A796-1F5E7CB49954}"/>
          </ac:graphicFrameMkLst>
        </pc:graphicFrameChg>
        <pc:graphicFrameChg chg="mod modGraphic">
          <ac:chgData name="Jason Melehani" userId="S::jason.melehani@gilead.com::93603e9a-d746-4d7c-89da-7c5ef8b091f7" providerId="AD" clId="Web-{32563FCC-CD0A-8D5A-3FF2-5F129BD0EC5F}" dt="2024-03-20T03:21:39.254" v="33"/>
          <ac:graphicFrameMkLst>
            <pc:docMk/>
            <pc:sldMk cId="1250735742" sldId="2147482140"/>
            <ac:graphicFrameMk id="6" creationId="{9599B004-D8E1-32FA-4DAA-39FA7D214EF2}"/>
          </ac:graphicFrameMkLst>
        </pc:graphicFrameChg>
      </pc:sldChg>
    </pc:docChg>
  </pc:docChgLst>
  <pc:docChgLst>
    <pc:chgData name="Jun Xu" userId="S::jxu02@gilead.com::16503f38-d1f6-4183-be87-545c60b6292a" providerId="AD" clId="Web-{28BBABF1-C3BF-A853-EBFF-64961C8B467C}"/>
    <pc:docChg chg="modSld">
      <pc:chgData name="Jun Xu" userId="S::jxu02@gilead.com::16503f38-d1f6-4183-be87-545c60b6292a" providerId="AD" clId="Web-{28BBABF1-C3BF-A853-EBFF-64961C8B467C}" dt="2024-03-26T15:49:07.459" v="60" actId="20577"/>
      <pc:docMkLst>
        <pc:docMk/>
      </pc:docMkLst>
      <pc:sldChg chg="modCm">
        <pc:chgData name="Jun Xu" userId="S::jxu02@gilead.com::16503f38-d1f6-4183-be87-545c60b6292a" providerId="AD" clId="Web-{28BBABF1-C3BF-A853-EBFF-64961C8B467C}" dt="2024-03-26T15:47:11.845" v="17"/>
        <pc:sldMkLst>
          <pc:docMk/>
          <pc:sldMk cId="1242631946" sldId="2147472683"/>
        </pc:sldMkLst>
      </pc:sldChg>
      <pc:sldChg chg="modSp modCm">
        <pc:chgData name="Jun Xu" userId="S::jxu02@gilead.com::16503f38-d1f6-4183-be87-545c60b6292a" providerId="AD" clId="Web-{28BBABF1-C3BF-A853-EBFF-64961C8B467C}" dt="2024-03-26T15:49:07.459" v="60" actId="20577"/>
        <pc:sldMkLst>
          <pc:docMk/>
          <pc:sldMk cId="1685824701" sldId="2147482146"/>
        </pc:sldMkLst>
        <pc:spChg chg="mod">
          <ac:chgData name="Jun Xu" userId="S::jxu02@gilead.com::16503f38-d1f6-4183-be87-545c60b6292a" providerId="AD" clId="Web-{28BBABF1-C3BF-A853-EBFF-64961C8B467C}" dt="2024-03-26T15:49:07.459" v="60" actId="20577"/>
          <ac:spMkLst>
            <pc:docMk/>
            <pc:sldMk cId="1685824701" sldId="2147482146"/>
            <ac:spMk id="4" creationId="{3C82F452-0863-3B4E-85D1-65B2DFF1618C}"/>
          </ac:spMkLst>
        </pc:spChg>
      </pc:sldChg>
    </pc:docChg>
  </pc:docChgLst>
  <pc:docChgLst>
    <pc:chgData name="JaeB Kim" userId="S::jaeb.kim31@gilead.com::4d3b572d-d26a-4ed7-92e4-3ecc7b648986" providerId="AD" clId="Web-{A3697E01-126E-519F-D6B8-E01456A5AB3C}"/>
    <pc:docChg chg="sldOrd">
      <pc:chgData name="JaeB Kim" userId="S::jaeb.kim31@gilead.com::4d3b572d-d26a-4ed7-92e4-3ecc7b648986" providerId="AD" clId="Web-{A3697E01-126E-519F-D6B8-E01456A5AB3C}" dt="2024-03-26T18:32:03.304" v="0"/>
      <pc:docMkLst>
        <pc:docMk/>
      </pc:docMkLst>
      <pc:sldChg chg="ord">
        <pc:chgData name="JaeB Kim" userId="S::jaeb.kim31@gilead.com::4d3b572d-d26a-4ed7-92e4-3ecc7b648986" providerId="AD" clId="Web-{A3697E01-126E-519F-D6B8-E01456A5AB3C}" dt="2024-03-26T18:32:03.304" v="0"/>
        <pc:sldMkLst>
          <pc:docMk/>
          <pc:sldMk cId="70275736" sldId="2147482152"/>
        </pc:sldMkLst>
      </pc:sldChg>
    </pc:docChg>
  </pc:docChgLst>
  <pc:docChgLst>
    <pc:chgData name="Keshab Sarma" userId="S::keshab.sarma@gilead.com::782906ae-3fdb-4674-af0d-1d5bd90e70e5" providerId="AD" clId="Web-{AA77E857-C204-8C23-5F93-105E24B2FE62}"/>
    <pc:docChg chg="addSld delSld modSection">
      <pc:chgData name="Keshab Sarma" userId="S::keshab.sarma@gilead.com::782906ae-3fdb-4674-af0d-1d5bd90e70e5" providerId="AD" clId="Web-{AA77E857-C204-8C23-5F93-105E24B2FE62}" dt="2024-03-20T19:11:18.268" v="1"/>
      <pc:docMkLst>
        <pc:docMk/>
      </pc:docMkLst>
      <pc:sldChg chg="new del">
        <pc:chgData name="Keshab Sarma" userId="S::keshab.sarma@gilead.com::782906ae-3fdb-4674-af0d-1d5bd90e70e5" providerId="AD" clId="Web-{AA77E857-C204-8C23-5F93-105E24B2FE62}" dt="2024-03-20T19:11:18.268" v="1"/>
        <pc:sldMkLst>
          <pc:docMk/>
          <pc:sldMk cId="3107706860" sldId="2147482144"/>
        </pc:sldMkLst>
      </pc:sldChg>
    </pc:docChg>
  </pc:docChgLst>
  <pc:docChgLst>
    <pc:chgData name="Xiaomin Lu" userId="42419631-bd19-4e2d-8d0e-2a49042d0d37" providerId="ADAL" clId="{F9E2E8FD-7EDC-40E2-A20E-468B935E449B}"/>
    <pc:docChg chg="undo custSel addSld delSld modSld sldOrd modSection">
      <pc:chgData name="Xiaomin Lu" userId="42419631-bd19-4e2d-8d0e-2a49042d0d37" providerId="ADAL" clId="{F9E2E8FD-7EDC-40E2-A20E-468B935E449B}" dt="2024-03-15T00:06:05.808" v="3122" actId="20577"/>
      <pc:docMkLst>
        <pc:docMk/>
      </pc:docMkLst>
      <pc:sldChg chg="addSp modSp del mod modShow">
        <pc:chgData name="Xiaomin Lu" userId="42419631-bd19-4e2d-8d0e-2a49042d0d37" providerId="ADAL" clId="{F9E2E8FD-7EDC-40E2-A20E-468B935E449B}" dt="2024-03-09T05:46:43.006" v="1394" actId="47"/>
        <pc:sldMkLst>
          <pc:docMk/>
          <pc:sldMk cId="828663169" sldId="2146847497"/>
        </pc:sldMkLst>
        <pc:spChg chg="mod">
          <ac:chgData name="Xiaomin Lu" userId="42419631-bd19-4e2d-8d0e-2a49042d0d37" providerId="ADAL" clId="{F9E2E8FD-7EDC-40E2-A20E-468B935E449B}" dt="2024-02-26T04:57:55.214" v="57" actId="1076"/>
          <ac:spMkLst>
            <pc:docMk/>
            <pc:sldMk cId="828663169" sldId="2146847497"/>
            <ac:spMk id="6" creationId="{5B34F5CB-3AF3-955D-62B3-1D06549577E6}"/>
          </ac:spMkLst>
        </pc:spChg>
        <pc:spChg chg="add mod">
          <ac:chgData name="Xiaomin Lu" userId="42419631-bd19-4e2d-8d0e-2a49042d0d37" providerId="ADAL" clId="{F9E2E8FD-7EDC-40E2-A20E-468B935E449B}" dt="2024-02-26T04:57:59.044" v="59" actId="571"/>
          <ac:spMkLst>
            <pc:docMk/>
            <pc:sldMk cId="828663169" sldId="2146847497"/>
            <ac:spMk id="7" creationId="{532979D4-042F-3218-A587-BA9DCA92E083}"/>
          </ac:spMkLst>
        </pc:spChg>
        <pc:spChg chg="add mod">
          <ac:chgData name="Xiaomin Lu" userId="42419631-bd19-4e2d-8d0e-2a49042d0d37" providerId="ADAL" clId="{F9E2E8FD-7EDC-40E2-A20E-468B935E449B}" dt="2024-02-26T04:57:59.044" v="59" actId="571"/>
          <ac:spMkLst>
            <pc:docMk/>
            <pc:sldMk cId="828663169" sldId="2146847497"/>
            <ac:spMk id="9" creationId="{EF53A0F8-69FA-AB99-4C36-B190AED952A4}"/>
          </ac:spMkLst>
        </pc:spChg>
      </pc:sldChg>
      <pc:sldChg chg="del">
        <pc:chgData name="Xiaomin Lu" userId="42419631-bd19-4e2d-8d0e-2a49042d0d37" providerId="ADAL" clId="{F9E2E8FD-7EDC-40E2-A20E-468B935E449B}" dt="2024-03-09T05:46:48.269" v="1395" actId="47"/>
        <pc:sldMkLst>
          <pc:docMk/>
          <pc:sldMk cId="2408851039" sldId="2146847498"/>
        </pc:sldMkLst>
      </pc:sldChg>
      <pc:sldChg chg="modSp mod ord">
        <pc:chgData name="Xiaomin Lu" userId="42419631-bd19-4e2d-8d0e-2a49042d0d37" providerId="ADAL" clId="{F9E2E8FD-7EDC-40E2-A20E-468B935E449B}" dt="2024-03-09T01:12:08.896" v="1109" actId="6549"/>
        <pc:sldMkLst>
          <pc:docMk/>
          <pc:sldMk cId="319071815" sldId="2146847517"/>
        </pc:sldMkLst>
        <pc:spChg chg="mod">
          <ac:chgData name="Xiaomin Lu" userId="42419631-bd19-4e2d-8d0e-2a49042d0d37" providerId="ADAL" clId="{F9E2E8FD-7EDC-40E2-A20E-468B935E449B}" dt="2024-03-09T01:12:08.896" v="1109" actId="6549"/>
          <ac:spMkLst>
            <pc:docMk/>
            <pc:sldMk cId="319071815" sldId="2146847517"/>
            <ac:spMk id="3" creationId="{00000000-0000-0000-0000-000000000000}"/>
          </ac:spMkLst>
        </pc:spChg>
        <pc:graphicFrameChg chg="mod modGraphic">
          <ac:chgData name="Xiaomin Lu" userId="42419631-bd19-4e2d-8d0e-2a49042d0d37" providerId="ADAL" clId="{F9E2E8FD-7EDC-40E2-A20E-468B935E449B}" dt="2024-03-09T01:11:54.291" v="1106" actId="13926"/>
          <ac:graphicFrameMkLst>
            <pc:docMk/>
            <pc:sldMk cId="319071815" sldId="2146847517"/>
            <ac:graphicFrameMk id="8" creationId="{CA557B88-FEFB-4458-BF09-8B979BE885DF}"/>
          </ac:graphicFrameMkLst>
        </pc:graphicFrameChg>
      </pc:sldChg>
      <pc:sldChg chg="modSp add del mod">
        <pc:chgData name="Xiaomin Lu" userId="42419631-bd19-4e2d-8d0e-2a49042d0d37" providerId="ADAL" clId="{F9E2E8FD-7EDC-40E2-A20E-468B935E449B}" dt="2024-03-09T05:39:21.780" v="1354"/>
        <pc:sldMkLst>
          <pc:docMk/>
          <pc:sldMk cId="2630835653" sldId="2146847867"/>
        </pc:sldMkLst>
        <pc:graphicFrameChg chg="modGraphic">
          <ac:chgData name="Xiaomin Lu" userId="42419631-bd19-4e2d-8d0e-2a49042d0d37" providerId="ADAL" clId="{F9E2E8FD-7EDC-40E2-A20E-468B935E449B}" dt="2024-03-09T05:39:21.780" v="1354"/>
          <ac:graphicFrameMkLst>
            <pc:docMk/>
            <pc:sldMk cId="2630835653" sldId="2146847867"/>
            <ac:graphicFrameMk id="12" creationId="{88A3FAB2-4CED-4E52-8A79-C10A74019B65}"/>
          </ac:graphicFrameMkLst>
        </pc:graphicFrameChg>
      </pc:sldChg>
      <pc:sldChg chg="add del">
        <pc:chgData name="Xiaomin Lu" userId="42419631-bd19-4e2d-8d0e-2a49042d0d37" providerId="ADAL" clId="{F9E2E8FD-7EDC-40E2-A20E-468B935E449B}" dt="2024-02-26T04:55:57.310" v="53"/>
        <pc:sldMkLst>
          <pc:docMk/>
          <pc:sldMk cId="1406184763" sldId="2146847877"/>
        </pc:sldMkLst>
      </pc:sldChg>
      <pc:sldChg chg="del mod modShow">
        <pc:chgData name="Xiaomin Lu" userId="42419631-bd19-4e2d-8d0e-2a49042d0d37" providerId="ADAL" clId="{F9E2E8FD-7EDC-40E2-A20E-468B935E449B}" dt="2024-03-09T05:39:44.489" v="1357" actId="47"/>
        <pc:sldMkLst>
          <pc:docMk/>
          <pc:sldMk cId="3915304697" sldId="2146847880"/>
        </pc:sldMkLst>
      </pc:sldChg>
      <pc:sldChg chg="modSp mod ord">
        <pc:chgData name="Xiaomin Lu" userId="42419631-bd19-4e2d-8d0e-2a49042d0d37" providerId="ADAL" clId="{F9E2E8FD-7EDC-40E2-A20E-468B935E449B}" dt="2024-03-09T03:13:16.853" v="1147"/>
        <pc:sldMkLst>
          <pc:docMk/>
          <pc:sldMk cId="4263678854" sldId="2146847931"/>
        </pc:sldMkLst>
        <pc:spChg chg="mod">
          <ac:chgData name="Xiaomin Lu" userId="42419631-bd19-4e2d-8d0e-2a49042d0d37" providerId="ADAL" clId="{F9E2E8FD-7EDC-40E2-A20E-468B935E449B}" dt="2024-02-26T04:54:54.301" v="50" actId="207"/>
          <ac:spMkLst>
            <pc:docMk/>
            <pc:sldMk cId="4263678854" sldId="2146847931"/>
            <ac:spMk id="9" creationId="{555D21D6-2FEB-496F-A2A5-966F55DC1E80}"/>
          </ac:spMkLst>
        </pc:spChg>
        <pc:graphicFrameChg chg="modGraphic">
          <ac:chgData name="Xiaomin Lu" userId="42419631-bd19-4e2d-8d0e-2a49042d0d37" providerId="ADAL" clId="{F9E2E8FD-7EDC-40E2-A20E-468B935E449B}" dt="2024-02-26T04:53:40.731" v="46" actId="20577"/>
          <ac:graphicFrameMkLst>
            <pc:docMk/>
            <pc:sldMk cId="4263678854" sldId="2146847931"/>
            <ac:graphicFrameMk id="26" creationId="{28D70B58-008A-6108-3E7B-379798E411E4}"/>
          </ac:graphicFrameMkLst>
        </pc:graphicFrameChg>
      </pc:sldChg>
      <pc:sldChg chg="del mod modShow">
        <pc:chgData name="Xiaomin Lu" userId="42419631-bd19-4e2d-8d0e-2a49042d0d37" providerId="ADAL" clId="{F9E2E8FD-7EDC-40E2-A20E-468B935E449B}" dt="2024-03-09T05:40:00.209" v="1358" actId="47"/>
        <pc:sldMkLst>
          <pc:docMk/>
          <pc:sldMk cId="1225182204" sldId="2146847932"/>
        </pc:sldMkLst>
      </pc:sldChg>
      <pc:sldChg chg="add del mod ord modShow">
        <pc:chgData name="Xiaomin Lu" userId="42419631-bd19-4e2d-8d0e-2a49042d0d37" providerId="ADAL" clId="{F9E2E8FD-7EDC-40E2-A20E-468B935E449B}" dt="2024-03-09T05:41:28.818" v="1359" actId="47"/>
        <pc:sldMkLst>
          <pc:docMk/>
          <pc:sldMk cId="1495852894" sldId="2146847934"/>
        </pc:sldMkLst>
      </pc:sldChg>
      <pc:sldChg chg="del">
        <pc:chgData name="Xiaomin Lu" userId="42419631-bd19-4e2d-8d0e-2a49042d0d37" providerId="ADAL" clId="{F9E2E8FD-7EDC-40E2-A20E-468B935E449B}" dt="2024-02-26T04:51:56.625" v="14" actId="47"/>
        <pc:sldMkLst>
          <pc:docMk/>
          <pc:sldMk cId="2925381555" sldId="2146847935"/>
        </pc:sldMkLst>
      </pc:sldChg>
      <pc:sldChg chg="addSp delSp modSp add mod">
        <pc:chgData name="Xiaomin Lu" userId="42419631-bd19-4e2d-8d0e-2a49042d0d37" providerId="ADAL" clId="{F9E2E8FD-7EDC-40E2-A20E-468B935E449B}" dt="2024-03-14T19:31:19.111" v="2023" actId="21"/>
        <pc:sldMkLst>
          <pc:docMk/>
          <pc:sldMk cId="1014123647" sldId="2146847936"/>
        </pc:sldMkLst>
        <pc:spChg chg="add del mod">
          <ac:chgData name="Xiaomin Lu" userId="42419631-bd19-4e2d-8d0e-2a49042d0d37" providerId="ADAL" clId="{F9E2E8FD-7EDC-40E2-A20E-468B935E449B}" dt="2024-03-14T19:31:19.111" v="2023" actId="21"/>
          <ac:spMkLst>
            <pc:docMk/>
            <pc:sldMk cId="1014123647" sldId="2146847936"/>
            <ac:spMk id="5" creationId="{99AD0E8D-EAB8-90B4-0AA1-59D3AA7A8C35}"/>
          </ac:spMkLst>
        </pc:spChg>
      </pc:sldChg>
      <pc:sldChg chg="addSp modSp add mod addCm modCm">
        <pc:chgData name="Xiaomin Lu" userId="42419631-bd19-4e2d-8d0e-2a49042d0d37" providerId="ADAL" clId="{F9E2E8FD-7EDC-40E2-A20E-468B935E449B}" dt="2024-03-14T20:17:58.529" v="3022" actId="20577"/>
        <pc:sldMkLst>
          <pc:docMk/>
          <pc:sldMk cId="1226772100" sldId="2146847938"/>
        </pc:sldMkLst>
        <pc:spChg chg="mod">
          <ac:chgData name="Xiaomin Lu" userId="42419631-bd19-4e2d-8d0e-2a49042d0d37" providerId="ADAL" clId="{F9E2E8FD-7EDC-40E2-A20E-468B935E449B}" dt="2024-03-08T19:44:49.521" v="829" actId="6549"/>
          <ac:spMkLst>
            <pc:docMk/>
            <pc:sldMk cId="1226772100" sldId="2146847938"/>
            <ac:spMk id="2" creationId="{00000000-0000-0000-0000-000000000000}"/>
          </ac:spMkLst>
        </pc:spChg>
        <pc:spChg chg="mod">
          <ac:chgData name="Xiaomin Lu" userId="42419631-bd19-4e2d-8d0e-2a49042d0d37" providerId="ADAL" clId="{F9E2E8FD-7EDC-40E2-A20E-468B935E449B}" dt="2024-03-14T20:11:50.906" v="2997" actId="20577"/>
          <ac:spMkLst>
            <pc:docMk/>
            <pc:sldMk cId="1226772100" sldId="2146847938"/>
            <ac:spMk id="4" creationId="{BF5B135B-1B07-5516-1C64-BFB78718F221}"/>
          </ac:spMkLst>
        </pc:spChg>
        <pc:spChg chg="add mod">
          <ac:chgData name="Xiaomin Lu" userId="42419631-bd19-4e2d-8d0e-2a49042d0d37" providerId="ADAL" clId="{F9E2E8FD-7EDC-40E2-A20E-468B935E449B}" dt="2024-03-14T19:19:57.559" v="1610" actId="255"/>
          <ac:spMkLst>
            <pc:docMk/>
            <pc:sldMk cId="1226772100" sldId="2146847938"/>
            <ac:spMk id="6" creationId="{FB003401-A989-B2D6-4734-EF020EF53920}"/>
          </ac:spMkLst>
        </pc:spChg>
        <pc:graphicFrameChg chg="mod modGraphic">
          <ac:chgData name="Xiaomin Lu" userId="42419631-bd19-4e2d-8d0e-2a49042d0d37" providerId="ADAL" clId="{F9E2E8FD-7EDC-40E2-A20E-468B935E449B}" dt="2024-03-14T20:17:58.529" v="3022" actId="20577"/>
          <ac:graphicFrameMkLst>
            <pc:docMk/>
            <pc:sldMk cId="1226772100" sldId="2146847938"/>
            <ac:graphicFrameMk id="5" creationId="{8B36D40D-753D-BEB4-39A4-D1040A0CB323}"/>
          </ac:graphicFrameMkLst>
        </pc:graphicFrameChg>
        <pc:graphicFrameChg chg="add mod">
          <ac:chgData name="Xiaomin Lu" userId="42419631-bd19-4e2d-8d0e-2a49042d0d37" providerId="ADAL" clId="{F9E2E8FD-7EDC-40E2-A20E-468B935E449B}" dt="2024-03-14T20:17:40.592" v="3021"/>
          <ac:graphicFrameMkLst>
            <pc:docMk/>
            <pc:sldMk cId="1226772100" sldId="2146847938"/>
            <ac:graphicFrameMk id="7" creationId="{8BB436BD-E2D8-0643-E48B-0C623E0F72B0}"/>
          </ac:graphicFrameMkLst>
        </pc:graphicFrameChg>
      </pc:sldChg>
      <pc:sldChg chg="add del">
        <pc:chgData name="Xiaomin Lu" userId="42419631-bd19-4e2d-8d0e-2a49042d0d37" providerId="ADAL" clId="{F9E2E8FD-7EDC-40E2-A20E-468B935E449B}" dt="2024-02-26T04:51:22.649" v="10" actId="47"/>
        <pc:sldMkLst>
          <pc:docMk/>
          <pc:sldMk cId="195328653" sldId="2147479456"/>
        </pc:sldMkLst>
      </pc:sldChg>
      <pc:sldChg chg="modSp add del mod addCm modCm">
        <pc:chgData name="Xiaomin Lu" userId="42419631-bd19-4e2d-8d0e-2a49042d0d37" providerId="ADAL" clId="{F9E2E8FD-7EDC-40E2-A20E-468B935E449B}" dt="2024-03-09T05:33:53.734" v="1329" actId="47"/>
        <pc:sldMkLst>
          <pc:docMk/>
          <pc:sldMk cId="1952947529" sldId="2147479457"/>
        </pc:sldMkLst>
        <pc:spChg chg="mod">
          <ac:chgData name="Xiaomin Lu" userId="42419631-bd19-4e2d-8d0e-2a49042d0d37" providerId="ADAL" clId="{F9E2E8FD-7EDC-40E2-A20E-468B935E449B}" dt="2024-02-26T05:02:07.816" v="67" actId="1076"/>
          <ac:spMkLst>
            <pc:docMk/>
            <pc:sldMk cId="1952947529" sldId="2147479457"/>
            <ac:spMk id="2" creationId="{00000000-0000-0000-0000-000000000000}"/>
          </ac:spMkLst>
        </pc:spChg>
        <pc:graphicFrameChg chg="mod modGraphic">
          <ac:chgData name="Xiaomin Lu" userId="42419631-bd19-4e2d-8d0e-2a49042d0d37" providerId="ADAL" clId="{F9E2E8FD-7EDC-40E2-A20E-468B935E449B}" dt="2024-03-08T19:54:26.930" v="981" actId="400"/>
          <ac:graphicFrameMkLst>
            <pc:docMk/>
            <pc:sldMk cId="1952947529" sldId="2147479457"/>
            <ac:graphicFrameMk id="3" creationId="{1BB599FD-6071-5C0B-0CCF-0A8634E74972}"/>
          </ac:graphicFrameMkLst>
        </pc:graphicFrameChg>
      </pc:sldChg>
      <pc:sldChg chg="modSp add mod">
        <pc:chgData name="Xiaomin Lu" userId="42419631-bd19-4e2d-8d0e-2a49042d0d37" providerId="ADAL" clId="{F9E2E8FD-7EDC-40E2-A20E-468B935E449B}" dt="2024-03-09T05:39:29.725" v="1356"/>
        <pc:sldMkLst>
          <pc:docMk/>
          <pc:sldMk cId="298918221" sldId="2147479458"/>
        </pc:sldMkLst>
        <pc:graphicFrameChg chg="modGraphic">
          <ac:chgData name="Xiaomin Lu" userId="42419631-bd19-4e2d-8d0e-2a49042d0d37" providerId="ADAL" clId="{F9E2E8FD-7EDC-40E2-A20E-468B935E449B}" dt="2024-03-09T05:39:29.725" v="1356"/>
          <ac:graphicFrameMkLst>
            <pc:docMk/>
            <pc:sldMk cId="298918221" sldId="2147479458"/>
            <ac:graphicFrameMk id="12" creationId="{88A3FAB2-4CED-4E52-8A79-C10A74019B65}"/>
          </ac:graphicFrameMkLst>
        </pc:graphicFrameChg>
      </pc:sldChg>
      <pc:sldChg chg="modSp add mod ord">
        <pc:chgData name="Xiaomin Lu" userId="42419631-bd19-4e2d-8d0e-2a49042d0d37" providerId="ADAL" clId="{F9E2E8FD-7EDC-40E2-A20E-468B935E449B}" dt="2024-03-09T03:12:33.137" v="1145" actId="20577"/>
        <pc:sldMkLst>
          <pc:docMk/>
          <pc:sldMk cId="830353175" sldId="2147479459"/>
        </pc:sldMkLst>
        <pc:graphicFrameChg chg="modGraphic">
          <ac:chgData name="Xiaomin Lu" userId="42419631-bd19-4e2d-8d0e-2a49042d0d37" providerId="ADAL" clId="{F9E2E8FD-7EDC-40E2-A20E-468B935E449B}" dt="2024-03-09T03:12:33.137" v="1145" actId="20577"/>
          <ac:graphicFrameMkLst>
            <pc:docMk/>
            <pc:sldMk cId="830353175" sldId="2147479459"/>
            <ac:graphicFrameMk id="8" creationId="{E0AA2080-7053-D6BB-F219-8A163053DEDC}"/>
          </ac:graphicFrameMkLst>
        </pc:graphicFrameChg>
      </pc:sldChg>
      <pc:sldChg chg="addSp delSp add del mod ord">
        <pc:chgData name="Xiaomin Lu" userId="42419631-bd19-4e2d-8d0e-2a49042d0d37" providerId="ADAL" clId="{F9E2E8FD-7EDC-40E2-A20E-468B935E449B}" dt="2024-03-09T03:14:30.549" v="1157" actId="47"/>
        <pc:sldMkLst>
          <pc:docMk/>
          <pc:sldMk cId="2147867151" sldId="2147479460"/>
        </pc:sldMkLst>
        <pc:picChg chg="add del">
          <ac:chgData name="Xiaomin Lu" userId="42419631-bd19-4e2d-8d0e-2a49042d0d37" providerId="ADAL" clId="{F9E2E8FD-7EDC-40E2-A20E-468B935E449B}" dt="2024-03-09T03:13:59.146" v="1153" actId="21"/>
          <ac:picMkLst>
            <pc:docMk/>
            <pc:sldMk cId="2147867151" sldId="2147479460"/>
            <ac:picMk id="7" creationId="{4D10D0EE-26E8-9C86-7A4E-AFB8DE3BE58E}"/>
          </ac:picMkLst>
        </pc:picChg>
      </pc:sldChg>
      <pc:sldChg chg="add ord">
        <pc:chgData name="Xiaomin Lu" userId="42419631-bd19-4e2d-8d0e-2a49042d0d37" providerId="ADAL" clId="{F9E2E8FD-7EDC-40E2-A20E-468B935E449B}" dt="2024-03-09T03:12:12.098" v="1143"/>
        <pc:sldMkLst>
          <pc:docMk/>
          <pc:sldMk cId="3582793360" sldId="2147479461"/>
        </pc:sldMkLst>
      </pc:sldChg>
      <pc:sldChg chg="addSp modSp add mod ord">
        <pc:chgData name="Xiaomin Lu" userId="42419631-bd19-4e2d-8d0e-2a49042d0d37" providerId="ADAL" clId="{F9E2E8FD-7EDC-40E2-A20E-468B935E449B}" dt="2024-03-09T05:35:07.972" v="1331"/>
        <pc:sldMkLst>
          <pc:docMk/>
          <pc:sldMk cId="870056831" sldId="2147479462"/>
        </pc:sldMkLst>
        <pc:spChg chg="mod">
          <ac:chgData name="Xiaomin Lu" userId="42419631-bd19-4e2d-8d0e-2a49042d0d37" providerId="ADAL" clId="{F9E2E8FD-7EDC-40E2-A20E-468B935E449B}" dt="2024-02-26T04:58:36.720" v="61"/>
          <ac:spMkLst>
            <pc:docMk/>
            <pc:sldMk cId="870056831" sldId="2147479462"/>
            <ac:spMk id="2" creationId="{00000000-0000-0000-0000-000000000000}"/>
          </ac:spMkLst>
        </pc:spChg>
        <pc:spChg chg="add mod">
          <ac:chgData name="Xiaomin Lu" userId="42419631-bd19-4e2d-8d0e-2a49042d0d37" providerId="ADAL" clId="{F9E2E8FD-7EDC-40E2-A20E-468B935E449B}" dt="2024-02-26T04:58:06.957" v="60"/>
          <ac:spMkLst>
            <pc:docMk/>
            <pc:sldMk cId="870056831" sldId="2147479462"/>
            <ac:spMk id="11" creationId="{3B9A374B-F99B-A7B0-099A-DFA62F6D62C9}"/>
          </ac:spMkLst>
        </pc:spChg>
        <pc:spChg chg="add mod">
          <ac:chgData name="Xiaomin Lu" userId="42419631-bd19-4e2d-8d0e-2a49042d0d37" providerId="ADAL" clId="{F9E2E8FD-7EDC-40E2-A20E-468B935E449B}" dt="2024-02-26T04:58:06.957" v="60"/>
          <ac:spMkLst>
            <pc:docMk/>
            <pc:sldMk cId="870056831" sldId="2147479462"/>
            <ac:spMk id="13" creationId="{186358B4-0B85-CA2F-7932-B47F172DC190}"/>
          </ac:spMkLst>
        </pc:spChg>
      </pc:sldChg>
      <pc:sldChg chg="addSp delSp modSp mod addCm delCm modCm">
        <pc:chgData name="Xiaomin Lu" userId="42419631-bd19-4e2d-8d0e-2a49042d0d37" providerId="ADAL" clId="{F9E2E8FD-7EDC-40E2-A20E-468B935E449B}" dt="2024-03-15T00:06:05.808" v="3122" actId="20577"/>
        <pc:sldMkLst>
          <pc:docMk/>
          <pc:sldMk cId="1588382006" sldId="2147479470"/>
        </pc:sldMkLst>
        <pc:spChg chg="mod">
          <ac:chgData name="Xiaomin Lu" userId="42419631-bd19-4e2d-8d0e-2a49042d0d37" providerId="ADAL" clId="{F9E2E8FD-7EDC-40E2-A20E-468B935E449B}" dt="2024-03-14T19:15:37.465" v="1446" actId="20577"/>
          <ac:spMkLst>
            <pc:docMk/>
            <pc:sldMk cId="1588382006" sldId="2147479470"/>
            <ac:spMk id="2" creationId="{00000000-0000-0000-0000-000000000000}"/>
          </ac:spMkLst>
        </pc:spChg>
        <pc:spChg chg="mod">
          <ac:chgData name="Xiaomin Lu" userId="42419631-bd19-4e2d-8d0e-2a49042d0d37" providerId="ADAL" clId="{F9E2E8FD-7EDC-40E2-A20E-468B935E449B}" dt="2024-03-15T00:06:05.808" v="3122" actId="20577"/>
          <ac:spMkLst>
            <pc:docMk/>
            <pc:sldMk cId="1588382006" sldId="2147479470"/>
            <ac:spMk id="4" creationId="{2402B536-6F4B-0BC0-5718-266C9D08A38C}"/>
          </ac:spMkLst>
        </pc:spChg>
        <pc:spChg chg="add del mod">
          <ac:chgData name="Xiaomin Lu" userId="42419631-bd19-4e2d-8d0e-2a49042d0d37" providerId="ADAL" clId="{F9E2E8FD-7EDC-40E2-A20E-468B935E449B}" dt="2024-03-14T19:32:03.342" v="2026" actId="478"/>
          <ac:spMkLst>
            <pc:docMk/>
            <pc:sldMk cId="1588382006" sldId="2147479470"/>
            <ac:spMk id="6" creationId="{7995E5C8-C98B-96F3-B69B-BF5E8836B4A3}"/>
          </ac:spMkLst>
        </pc:spChg>
        <pc:graphicFrameChg chg="mod modGraphic">
          <ac:chgData name="Xiaomin Lu" userId="42419631-bd19-4e2d-8d0e-2a49042d0d37" providerId="ADAL" clId="{F9E2E8FD-7EDC-40E2-A20E-468B935E449B}" dt="2024-03-15T00:04:54.055" v="3029"/>
          <ac:graphicFrameMkLst>
            <pc:docMk/>
            <pc:sldMk cId="1588382006" sldId="2147479470"/>
            <ac:graphicFrameMk id="3" creationId="{1BB599FD-6071-5C0B-0CCF-0A8634E74972}"/>
          </ac:graphicFrameMkLst>
        </pc:graphicFrameChg>
      </pc:sldChg>
      <pc:sldChg chg="addSp delSp modSp add del mod ord">
        <pc:chgData name="Xiaomin Lu" userId="42419631-bd19-4e2d-8d0e-2a49042d0d37" providerId="ADAL" clId="{F9E2E8FD-7EDC-40E2-A20E-468B935E449B}" dt="2024-03-09T03:14:54.349" v="1161" actId="47"/>
        <pc:sldMkLst>
          <pc:docMk/>
          <pc:sldMk cId="1020947621" sldId="2147479471"/>
        </pc:sldMkLst>
        <pc:graphicFrameChg chg="modGraphic">
          <ac:chgData name="Xiaomin Lu" userId="42419631-bd19-4e2d-8d0e-2a49042d0d37" providerId="ADAL" clId="{F9E2E8FD-7EDC-40E2-A20E-468B935E449B}" dt="2024-03-09T03:10:46.944" v="1133" actId="20577"/>
          <ac:graphicFrameMkLst>
            <pc:docMk/>
            <pc:sldMk cId="1020947621" sldId="2147479471"/>
            <ac:graphicFrameMk id="8" creationId="{E0AA2080-7053-D6BB-F219-8A163053DEDC}"/>
          </ac:graphicFrameMkLst>
        </pc:graphicFrameChg>
        <pc:picChg chg="add del mod">
          <ac:chgData name="Xiaomin Lu" userId="42419631-bd19-4e2d-8d0e-2a49042d0d37" providerId="ADAL" clId="{F9E2E8FD-7EDC-40E2-A20E-468B935E449B}" dt="2024-03-09T03:06:33.548" v="1118" actId="478"/>
          <ac:picMkLst>
            <pc:docMk/>
            <pc:sldMk cId="1020947621" sldId="2147479471"/>
            <ac:picMk id="4" creationId="{3369D02E-AD22-0B1C-DF1F-AAF6F8AC1D79}"/>
          </ac:picMkLst>
        </pc:picChg>
        <pc:picChg chg="add del mod">
          <ac:chgData name="Xiaomin Lu" userId="42419631-bd19-4e2d-8d0e-2a49042d0d37" providerId="ADAL" clId="{F9E2E8FD-7EDC-40E2-A20E-468B935E449B}" dt="2024-03-09T03:14:48.276" v="1158" actId="21"/>
          <ac:picMkLst>
            <pc:docMk/>
            <pc:sldMk cId="1020947621" sldId="2147479471"/>
            <ac:picMk id="9" creationId="{E13E1BB8-2DB2-7E37-C964-B3D43FF4C8C5}"/>
          </ac:picMkLst>
        </pc:picChg>
        <pc:picChg chg="del">
          <ac:chgData name="Xiaomin Lu" userId="42419631-bd19-4e2d-8d0e-2a49042d0d37" providerId="ADAL" clId="{F9E2E8FD-7EDC-40E2-A20E-468B935E449B}" dt="2024-03-09T03:05:38.748" v="1111" actId="478"/>
          <ac:picMkLst>
            <pc:docMk/>
            <pc:sldMk cId="1020947621" sldId="2147479471"/>
            <ac:picMk id="10" creationId="{8F04EAE2-D37E-9ED9-4766-5B5E2AAF5AF9}"/>
          </ac:picMkLst>
        </pc:picChg>
      </pc:sldChg>
      <pc:sldChg chg="addSp delSp modSp add mod ord">
        <pc:chgData name="Xiaomin Lu" userId="42419631-bd19-4e2d-8d0e-2a49042d0d37" providerId="ADAL" clId="{F9E2E8FD-7EDC-40E2-A20E-468B935E449B}" dt="2024-03-09T05:39:25.455" v="1355"/>
        <pc:sldMkLst>
          <pc:docMk/>
          <pc:sldMk cId="2951199926" sldId="2147479472"/>
        </pc:sldMkLst>
        <pc:graphicFrameChg chg="modGraphic">
          <ac:chgData name="Xiaomin Lu" userId="42419631-bd19-4e2d-8d0e-2a49042d0d37" providerId="ADAL" clId="{F9E2E8FD-7EDC-40E2-A20E-468B935E449B}" dt="2024-03-09T05:39:25.455" v="1355"/>
          <ac:graphicFrameMkLst>
            <pc:docMk/>
            <pc:sldMk cId="2951199926" sldId="2147479472"/>
            <ac:graphicFrameMk id="12" creationId="{88A3FAB2-4CED-4E52-8A79-C10A74019B65}"/>
          </ac:graphicFrameMkLst>
        </pc:graphicFrameChg>
        <pc:picChg chg="add mod">
          <ac:chgData name="Xiaomin Lu" userId="42419631-bd19-4e2d-8d0e-2a49042d0d37" providerId="ADAL" clId="{F9E2E8FD-7EDC-40E2-A20E-468B935E449B}" dt="2024-03-09T03:08:09.965" v="1125" actId="1076"/>
          <ac:picMkLst>
            <pc:docMk/>
            <pc:sldMk cId="2951199926" sldId="2147479472"/>
            <ac:picMk id="3" creationId="{245D0A71-65CE-BD19-7270-7393A8A78D07}"/>
          </ac:picMkLst>
        </pc:picChg>
        <pc:picChg chg="del">
          <ac:chgData name="Xiaomin Lu" userId="42419631-bd19-4e2d-8d0e-2a49042d0d37" providerId="ADAL" clId="{F9E2E8FD-7EDC-40E2-A20E-468B935E449B}" dt="2024-03-09T03:06:06.237" v="1116" actId="478"/>
          <ac:picMkLst>
            <pc:docMk/>
            <pc:sldMk cId="2951199926" sldId="2147479472"/>
            <ac:picMk id="7" creationId="{4D10D0EE-26E8-9C86-7A4E-AFB8DE3BE58E}"/>
          </ac:picMkLst>
        </pc:picChg>
      </pc:sldChg>
      <pc:sldChg chg="modSp add mod">
        <pc:chgData name="Xiaomin Lu" userId="42419631-bd19-4e2d-8d0e-2a49042d0d37" providerId="ADAL" clId="{F9E2E8FD-7EDC-40E2-A20E-468B935E449B}" dt="2024-03-09T05:37:47.882" v="1342"/>
        <pc:sldMkLst>
          <pc:docMk/>
          <pc:sldMk cId="3646003128" sldId="2147479473"/>
        </pc:sldMkLst>
        <pc:graphicFrameChg chg="mod modGraphic">
          <ac:chgData name="Xiaomin Lu" userId="42419631-bd19-4e2d-8d0e-2a49042d0d37" providerId="ADAL" clId="{F9E2E8FD-7EDC-40E2-A20E-468B935E449B}" dt="2024-03-09T05:37:47.882" v="1342"/>
          <ac:graphicFrameMkLst>
            <pc:docMk/>
            <pc:sldMk cId="3646003128" sldId="2147479473"/>
            <ac:graphicFrameMk id="12" creationId="{88A3FAB2-4CED-4E52-8A79-C10A74019B65}"/>
          </ac:graphicFrameMkLst>
        </pc:graphicFrameChg>
        <pc:picChg chg="mod">
          <ac:chgData name="Xiaomin Lu" userId="42419631-bd19-4e2d-8d0e-2a49042d0d37" providerId="ADAL" clId="{F9E2E8FD-7EDC-40E2-A20E-468B935E449B}" dt="2024-03-09T05:27:32.176" v="1275" actId="1076"/>
          <ac:picMkLst>
            <pc:docMk/>
            <pc:sldMk cId="3646003128" sldId="2147479473"/>
            <ac:picMk id="3" creationId="{245D0A71-65CE-BD19-7270-7393A8A78D07}"/>
          </ac:picMkLst>
        </pc:picChg>
      </pc:sldChg>
      <pc:sldChg chg="addSp delSp modSp add mod">
        <pc:chgData name="Xiaomin Lu" userId="42419631-bd19-4e2d-8d0e-2a49042d0d37" providerId="ADAL" clId="{F9E2E8FD-7EDC-40E2-A20E-468B935E449B}" dt="2024-03-09T05:31:53.196" v="1313" actId="255"/>
        <pc:sldMkLst>
          <pc:docMk/>
          <pc:sldMk cId="3723446433" sldId="2147479474"/>
        </pc:sldMkLst>
        <pc:spChg chg="mod">
          <ac:chgData name="Xiaomin Lu" userId="42419631-bd19-4e2d-8d0e-2a49042d0d37" providerId="ADAL" clId="{F9E2E8FD-7EDC-40E2-A20E-468B935E449B}" dt="2024-03-09T05:31:53.196" v="1313" actId="255"/>
          <ac:spMkLst>
            <pc:docMk/>
            <pc:sldMk cId="3723446433" sldId="2147479474"/>
            <ac:spMk id="2" creationId="{00000000-0000-0000-0000-000000000000}"/>
          </ac:spMkLst>
        </pc:spChg>
        <pc:graphicFrameChg chg="mod modGraphic">
          <ac:chgData name="Xiaomin Lu" userId="42419631-bd19-4e2d-8d0e-2a49042d0d37" providerId="ADAL" clId="{F9E2E8FD-7EDC-40E2-A20E-468B935E449B}" dt="2024-03-09T03:17:24.534" v="1165" actId="2711"/>
          <ac:graphicFrameMkLst>
            <pc:docMk/>
            <pc:sldMk cId="3723446433" sldId="2147479474"/>
            <ac:graphicFrameMk id="8" creationId="{4D16ADB5-A4CB-561D-5D46-29FFDEE8D041}"/>
          </ac:graphicFrameMkLst>
        </pc:graphicFrameChg>
        <pc:picChg chg="add del mod">
          <ac:chgData name="Xiaomin Lu" userId="42419631-bd19-4e2d-8d0e-2a49042d0d37" providerId="ADAL" clId="{F9E2E8FD-7EDC-40E2-A20E-468B935E449B}" dt="2024-03-09T03:13:59.935" v="1154"/>
          <ac:picMkLst>
            <pc:docMk/>
            <pc:sldMk cId="3723446433" sldId="2147479474"/>
            <ac:picMk id="3" creationId="{3CA4607A-EB48-3E1E-B9F1-431A34ADB747}"/>
          </ac:picMkLst>
        </pc:picChg>
        <pc:picChg chg="add mod">
          <ac:chgData name="Xiaomin Lu" userId="42419631-bd19-4e2d-8d0e-2a49042d0d37" providerId="ADAL" clId="{F9E2E8FD-7EDC-40E2-A20E-468B935E449B}" dt="2024-03-09T03:14:51.291" v="1160"/>
          <ac:picMkLst>
            <pc:docMk/>
            <pc:sldMk cId="3723446433" sldId="2147479474"/>
            <ac:picMk id="4" creationId="{571B70F2-A45A-FA67-3FBB-ACFF2216C91F}"/>
          </ac:picMkLst>
        </pc:picChg>
        <pc:picChg chg="add del">
          <ac:chgData name="Xiaomin Lu" userId="42419631-bd19-4e2d-8d0e-2a49042d0d37" providerId="ADAL" clId="{F9E2E8FD-7EDC-40E2-A20E-468B935E449B}" dt="2024-03-09T03:14:51.003" v="1159" actId="478"/>
          <ac:picMkLst>
            <pc:docMk/>
            <pc:sldMk cId="3723446433" sldId="2147479474"/>
            <ac:picMk id="10" creationId="{2D9FEFCF-5004-2EBE-71B0-5CB860446536}"/>
          </ac:picMkLst>
        </pc:picChg>
      </pc:sldChg>
      <pc:sldChg chg="addSp delSp modSp add mod">
        <pc:chgData name="Xiaomin Lu" userId="42419631-bd19-4e2d-8d0e-2a49042d0d37" providerId="ADAL" clId="{F9E2E8FD-7EDC-40E2-A20E-468B935E449B}" dt="2024-03-09T05:39:12.584" v="1353"/>
        <pc:sldMkLst>
          <pc:docMk/>
          <pc:sldMk cId="3306154873" sldId="2147479475"/>
        </pc:sldMkLst>
        <pc:spChg chg="mod">
          <ac:chgData name="Xiaomin Lu" userId="42419631-bd19-4e2d-8d0e-2a49042d0d37" providerId="ADAL" clId="{F9E2E8FD-7EDC-40E2-A20E-468B935E449B}" dt="2024-03-09T05:31:42.128" v="1312" actId="255"/>
          <ac:spMkLst>
            <pc:docMk/>
            <pc:sldMk cId="3306154873" sldId="2147479475"/>
            <ac:spMk id="2" creationId="{00000000-0000-0000-0000-000000000000}"/>
          </ac:spMkLst>
        </pc:spChg>
        <pc:spChg chg="add del mod">
          <ac:chgData name="Xiaomin Lu" userId="42419631-bd19-4e2d-8d0e-2a49042d0d37" providerId="ADAL" clId="{F9E2E8FD-7EDC-40E2-A20E-468B935E449B}" dt="2024-03-09T05:26:17.843" v="1265" actId="478"/>
          <ac:spMkLst>
            <pc:docMk/>
            <pc:sldMk cId="3306154873" sldId="2147479475"/>
            <ac:spMk id="4" creationId="{9FC15BCA-B60C-08FA-AA79-EC8C3630BF54}"/>
          </ac:spMkLst>
        </pc:spChg>
        <pc:graphicFrameChg chg="mod modGraphic">
          <ac:chgData name="Xiaomin Lu" userId="42419631-bd19-4e2d-8d0e-2a49042d0d37" providerId="ADAL" clId="{F9E2E8FD-7EDC-40E2-A20E-468B935E449B}" dt="2024-03-09T05:39:12.584" v="1353"/>
          <ac:graphicFrameMkLst>
            <pc:docMk/>
            <pc:sldMk cId="3306154873" sldId="2147479475"/>
            <ac:graphicFrameMk id="12" creationId="{88A3FAB2-4CED-4E52-8A79-C10A74019B65}"/>
          </ac:graphicFrameMkLst>
        </pc:graphicFrameChg>
        <pc:picChg chg="del">
          <ac:chgData name="Xiaomin Lu" userId="42419631-bd19-4e2d-8d0e-2a49042d0d37" providerId="ADAL" clId="{F9E2E8FD-7EDC-40E2-A20E-468B935E449B}" dt="2024-03-09T05:24:42.744" v="1248" actId="478"/>
          <ac:picMkLst>
            <pc:docMk/>
            <pc:sldMk cId="3306154873" sldId="2147479475"/>
            <ac:picMk id="3" creationId="{245D0A71-65CE-BD19-7270-7393A8A78D07}"/>
          </ac:picMkLst>
        </pc:picChg>
      </pc:sldChg>
      <pc:sldChg chg="delSp modSp add del mod modCm">
        <pc:chgData name="Xiaomin Lu" userId="42419631-bd19-4e2d-8d0e-2a49042d0d37" providerId="ADAL" clId="{F9E2E8FD-7EDC-40E2-A20E-468B935E449B}" dt="2024-03-14T20:18:35.655" v="3023" actId="47"/>
        <pc:sldMkLst>
          <pc:docMk/>
          <pc:sldMk cId="2531188512" sldId="2147479476"/>
        </pc:sldMkLst>
        <pc:spChg chg="mod">
          <ac:chgData name="Xiaomin Lu" userId="42419631-bd19-4e2d-8d0e-2a49042d0d37" providerId="ADAL" clId="{F9E2E8FD-7EDC-40E2-A20E-468B935E449B}" dt="2024-03-14T19:36:42.580" v="2144" actId="255"/>
          <ac:spMkLst>
            <pc:docMk/>
            <pc:sldMk cId="2531188512" sldId="2147479476"/>
            <ac:spMk id="2" creationId="{00000000-0000-0000-0000-000000000000}"/>
          </ac:spMkLst>
        </pc:spChg>
        <pc:spChg chg="del">
          <ac:chgData name="Xiaomin Lu" userId="42419631-bd19-4e2d-8d0e-2a49042d0d37" providerId="ADAL" clId="{F9E2E8FD-7EDC-40E2-A20E-468B935E449B}" dt="2024-03-14T19:32:09.916" v="2029" actId="478"/>
          <ac:spMkLst>
            <pc:docMk/>
            <pc:sldMk cId="2531188512" sldId="2147479476"/>
            <ac:spMk id="4" creationId="{2402B536-6F4B-0BC0-5718-266C9D08A38C}"/>
          </ac:spMkLst>
        </pc:spChg>
        <pc:spChg chg="del">
          <ac:chgData name="Xiaomin Lu" userId="42419631-bd19-4e2d-8d0e-2a49042d0d37" providerId="ADAL" clId="{F9E2E8FD-7EDC-40E2-A20E-468B935E449B}" dt="2024-03-14T19:55:55.400" v="2696" actId="478"/>
          <ac:spMkLst>
            <pc:docMk/>
            <pc:sldMk cId="2531188512" sldId="2147479476"/>
            <ac:spMk id="5" creationId="{50F7BDEC-C309-8446-377D-363E5B294F1F}"/>
          </ac:spMkLst>
        </pc:spChg>
        <pc:spChg chg="mod">
          <ac:chgData name="Xiaomin Lu" userId="42419631-bd19-4e2d-8d0e-2a49042d0d37" providerId="ADAL" clId="{F9E2E8FD-7EDC-40E2-A20E-468B935E449B}" dt="2024-03-14T20:02:50.452" v="2697" actId="6549"/>
          <ac:spMkLst>
            <pc:docMk/>
            <pc:sldMk cId="2531188512" sldId="2147479476"/>
            <ac:spMk id="6" creationId="{7995E5C8-C98B-96F3-B69B-BF5E8836B4A3}"/>
          </ac:spMkLst>
        </pc:spChg>
        <pc:graphicFrameChg chg="del">
          <ac:chgData name="Xiaomin Lu" userId="42419631-bd19-4e2d-8d0e-2a49042d0d37" providerId="ADAL" clId="{F9E2E8FD-7EDC-40E2-A20E-468B935E449B}" dt="2024-03-14T19:32:06.947" v="2027" actId="478"/>
          <ac:graphicFrameMkLst>
            <pc:docMk/>
            <pc:sldMk cId="2531188512" sldId="2147479476"/>
            <ac:graphicFrameMk id="3" creationId="{1BB599FD-6071-5C0B-0CCF-0A8634E74972}"/>
          </ac:graphicFrameMkLst>
        </pc:graphicFrameChg>
      </pc:sldChg>
    </pc:docChg>
  </pc:docChgLst>
  <pc:docChgLst>
    <pc:chgData name="Jason Melehani" userId="S::jason.melehani@gilead.com::93603e9a-d746-4d7c-89da-7c5ef8b091f7" providerId="AD" clId="Web-{E3EC9CA9-8D6A-94C3-2188-362920183E96}"/>
    <pc:docChg chg="modSld">
      <pc:chgData name="Jason Melehani" userId="S::jason.melehani@gilead.com::93603e9a-d746-4d7c-89da-7c5ef8b091f7" providerId="AD" clId="Web-{E3EC9CA9-8D6A-94C3-2188-362920183E96}" dt="2024-05-15T03:05:40.737" v="179"/>
      <pc:docMkLst>
        <pc:docMk/>
      </pc:docMkLst>
      <pc:sldChg chg="modSp">
        <pc:chgData name="Jason Melehani" userId="S::jason.melehani@gilead.com::93603e9a-d746-4d7c-89da-7c5ef8b091f7" providerId="AD" clId="Web-{E3EC9CA9-8D6A-94C3-2188-362920183E96}" dt="2024-05-15T02:57:12.085" v="14" actId="20577"/>
        <pc:sldMkLst>
          <pc:docMk/>
          <pc:sldMk cId="3407814504" sldId="2147482130"/>
        </pc:sldMkLst>
        <pc:spChg chg="mod">
          <ac:chgData name="Jason Melehani" userId="S::jason.melehani@gilead.com::93603e9a-d746-4d7c-89da-7c5ef8b091f7" providerId="AD" clId="Web-{E3EC9CA9-8D6A-94C3-2188-362920183E96}" dt="2024-05-15T02:57:12.085" v="14" actId="20577"/>
          <ac:spMkLst>
            <pc:docMk/>
            <pc:sldMk cId="3407814504" sldId="2147482130"/>
            <ac:spMk id="10" creationId="{EB19EFDB-B495-5E2D-8C0F-A4CD4799D8B2}"/>
          </ac:spMkLst>
        </pc:spChg>
      </pc:sldChg>
      <pc:sldChg chg="delSp modSp">
        <pc:chgData name="Jason Melehani" userId="S::jason.melehani@gilead.com::93603e9a-d746-4d7c-89da-7c5ef8b091f7" providerId="AD" clId="Web-{E3EC9CA9-8D6A-94C3-2188-362920183E96}" dt="2024-05-15T03:05:40.737" v="179"/>
        <pc:sldMkLst>
          <pc:docMk/>
          <pc:sldMk cId="1250735742" sldId="2147482140"/>
        </pc:sldMkLst>
        <pc:spChg chg="mod">
          <ac:chgData name="Jason Melehani" userId="S::jason.melehani@gilead.com::93603e9a-d746-4d7c-89da-7c5ef8b091f7" providerId="AD" clId="Web-{E3EC9CA9-8D6A-94C3-2188-362920183E96}" dt="2024-05-15T03:03:58.876" v="46" actId="20577"/>
          <ac:spMkLst>
            <pc:docMk/>
            <pc:sldMk cId="1250735742" sldId="2147482140"/>
            <ac:spMk id="2" creationId="{E3674C14-BAB4-3D1D-8518-911CBCFE92D5}"/>
          </ac:spMkLst>
        </pc:spChg>
        <pc:spChg chg="mod">
          <ac:chgData name="Jason Melehani" userId="S::jason.melehani@gilead.com::93603e9a-d746-4d7c-89da-7c5ef8b091f7" providerId="AD" clId="Web-{E3EC9CA9-8D6A-94C3-2188-362920183E96}" dt="2024-05-15T03:05:09.909" v="137" actId="20577"/>
          <ac:spMkLst>
            <pc:docMk/>
            <pc:sldMk cId="1250735742" sldId="2147482140"/>
            <ac:spMk id="3" creationId="{84E7990A-45D4-29D5-9849-9E694B358C8B}"/>
          </ac:spMkLst>
        </pc:spChg>
        <pc:graphicFrameChg chg="mod modGraphic">
          <ac:chgData name="Jason Melehani" userId="S::jason.melehani@gilead.com::93603e9a-d746-4d7c-89da-7c5ef8b091f7" providerId="AD" clId="Web-{E3EC9CA9-8D6A-94C3-2188-362920183E96}" dt="2024-05-15T03:05:40.737" v="179"/>
          <ac:graphicFrameMkLst>
            <pc:docMk/>
            <pc:sldMk cId="1250735742" sldId="2147482140"/>
            <ac:graphicFrameMk id="5" creationId="{91F37556-58DD-6C97-A796-1F5E7CB49954}"/>
          </ac:graphicFrameMkLst>
        </pc:graphicFrameChg>
        <pc:graphicFrameChg chg="del mod modGraphic">
          <ac:chgData name="Jason Melehani" userId="S::jason.melehani@gilead.com::93603e9a-d746-4d7c-89da-7c5ef8b091f7" providerId="AD" clId="Web-{E3EC9CA9-8D6A-94C3-2188-362920183E96}" dt="2024-05-15T03:04:14.986" v="53"/>
          <ac:graphicFrameMkLst>
            <pc:docMk/>
            <pc:sldMk cId="1250735742" sldId="2147482140"/>
            <ac:graphicFrameMk id="6" creationId="{9599B004-D8E1-32FA-4DAA-39FA7D214EF2}"/>
          </ac:graphicFrameMkLst>
        </pc:graphicFrameChg>
      </pc:sldChg>
      <pc:sldChg chg="modSp">
        <pc:chgData name="Jason Melehani" userId="S::jason.melehani@gilead.com::93603e9a-d746-4d7c-89da-7c5ef8b091f7" providerId="AD" clId="Web-{E3EC9CA9-8D6A-94C3-2188-362920183E96}" dt="2024-05-15T02:07:29.639" v="3" actId="20577"/>
        <pc:sldMkLst>
          <pc:docMk/>
          <pc:sldMk cId="2837651119" sldId="2147482142"/>
        </pc:sldMkLst>
        <pc:spChg chg="mod">
          <ac:chgData name="Jason Melehani" userId="S::jason.melehani@gilead.com::93603e9a-d746-4d7c-89da-7c5ef8b091f7" providerId="AD" clId="Web-{E3EC9CA9-8D6A-94C3-2188-362920183E96}" dt="2024-05-15T02:07:29.639" v="3" actId="20577"/>
          <ac:spMkLst>
            <pc:docMk/>
            <pc:sldMk cId="2837651119" sldId="2147482142"/>
            <ac:spMk id="3" creationId="{7D836601-6754-9347-8E4F-019A9E8569EC}"/>
          </ac:spMkLst>
        </pc:spChg>
      </pc:sldChg>
      <pc:sldChg chg="modSp">
        <pc:chgData name="Jason Melehani" userId="S::jason.melehani@gilead.com::93603e9a-d746-4d7c-89da-7c5ef8b091f7" providerId="AD" clId="Web-{E3EC9CA9-8D6A-94C3-2188-362920183E96}" dt="2024-05-15T03:00:17.512" v="17"/>
        <pc:sldMkLst>
          <pc:docMk/>
          <pc:sldMk cId="1832365024" sldId="2147482149"/>
        </pc:sldMkLst>
        <pc:spChg chg="mod">
          <ac:chgData name="Jason Melehani" userId="S::jason.melehani@gilead.com::93603e9a-d746-4d7c-89da-7c5ef8b091f7" providerId="AD" clId="Web-{E3EC9CA9-8D6A-94C3-2188-362920183E96}" dt="2024-05-15T03:00:12.183" v="15"/>
          <ac:spMkLst>
            <pc:docMk/>
            <pc:sldMk cId="1832365024" sldId="2147482149"/>
            <ac:spMk id="8" creationId="{8F12C514-1207-0691-263F-F3BC2ACE7F17}"/>
          </ac:spMkLst>
        </pc:spChg>
        <pc:spChg chg="mod">
          <ac:chgData name="Jason Melehani" userId="S::jason.melehani@gilead.com::93603e9a-d746-4d7c-89da-7c5ef8b091f7" providerId="AD" clId="Web-{E3EC9CA9-8D6A-94C3-2188-362920183E96}" dt="2024-05-15T03:00:17.449" v="16"/>
          <ac:spMkLst>
            <pc:docMk/>
            <pc:sldMk cId="1832365024" sldId="2147482149"/>
            <ac:spMk id="17" creationId="{83B2A1A6-EB85-8213-E029-E1F710F3C921}"/>
          </ac:spMkLst>
        </pc:spChg>
        <pc:spChg chg="mod">
          <ac:chgData name="Jason Melehani" userId="S::jason.melehani@gilead.com::93603e9a-d746-4d7c-89da-7c5ef8b091f7" providerId="AD" clId="Web-{E3EC9CA9-8D6A-94C3-2188-362920183E96}" dt="2024-05-15T03:00:17.512" v="17"/>
          <ac:spMkLst>
            <pc:docMk/>
            <pc:sldMk cId="1832365024" sldId="2147482149"/>
            <ac:spMk id="18" creationId="{EB40EF0C-C2C5-D4B9-524E-BE022100694D}"/>
          </ac:spMkLst>
        </pc:spChg>
      </pc:sldChg>
    </pc:docChg>
  </pc:docChgLst>
  <pc:docChgLst>
    <pc:chgData name="Jason Melehani" userId="S::jason.melehani@gilead.com::93603e9a-d746-4d7c-89da-7c5ef8b091f7" providerId="AD" clId="Web-{AA5CBC6A-FCB8-258B-3DF5-37BBA1B65AE0}"/>
    <pc:docChg chg="modSld">
      <pc:chgData name="Jason Melehani" userId="S::jason.melehani@gilead.com::93603e9a-d746-4d7c-89da-7c5ef8b091f7" providerId="AD" clId="Web-{AA5CBC6A-FCB8-258B-3DF5-37BBA1B65AE0}" dt="2024-03-25T19:03:42.024" v="256" actId="1076"/>
      <pc:docMkLst>
        <pc:docMk/>
      </pc:docMkLst>
      <pc:sldChg chg="addSp modSp modCm">
        <pc:chgData name="Jason Melehani" userId="S::jason.melehani@gilead.com::93603e9a-d746-4d7c-89da-7c5ef8b091f7" providerId="AD" clId="Web-{AA5CBC6A-FCB8-258B-3DF5-37BBA1B65AE0}" dt="2024-03-25T19:03:42.024" v="256" actId="1076"/>
        <pc:sldMkLst>
          <pc:docMk/>
          <pc:sldMk cId="3190076938" sldId="2147472670"/>
        </pc:sldMkLst>
        <pc:spChg chg="add mod">
          <ac:chgData name="Jason Melehani" userId="S::jason.melehani@gilead.com::93603e9a-d746-4d7c-89da-7c5ef8b091f7" providerId="AD" clId="Web-{AA5CBC6A-FCB8-258B-3DF5-37BBA1B65AE0}" dt="2024-03-25T19:03:42.024" v="256" actId="1076"/>
          <ac:spMkLst>
            <pc:docMk/>
            <pc:sldMk cId="3190076938" sldId="2147472670"/>
            <ac:spMk id="3" creationId="{12944062-3DB7-481B-6AC8-FA73EA2EC098}"/>
          </ac:spMkLst>
        </pc:spChg>
        <pc:graphicFrameChg chg="mod modGraphic">
          <ac:chgData name="Jason Melehani" userId="S::jason.melehani@gilead.com::93603e9a-d746-4d7c-89da-7c5ef8b091f7" providerId="AD" clId="Web-{AA5CBC6A-FCB8-258B-3DF5-37BBA1B65AE0}" dt="2024-03-25T19:03:34.008" v="254"/>
          <ac:graphicFrameMkLst>
            <pc:docMk/>
            <pc:sldMk cId="3190076938" sldId="2147472670"/>
            <ac:graphicFrameMk id="9" creationId="{7B1B46F3-01F0-C359-2115-41CB246AA563}"/>
          </ac:graphicFrameMkLst>
        </pc:graphicFrameChg>
      </pc:sldChg>
    </pc:docChg>
  </pc:docChgLst>
  <pc:docChgLst>
    <pc:chgData name="Xiaomin Lu" userId="S::xiaomin.lu@gilead.com::42419631-bd19-4e2d-8d0e-2a49042d0d37" providerId="AD" clId="Web-{E2301D62-2DBB-4233-B8D5-91112049D129}"/>
    <pc:docChg chg="addSld modSld modSection">
      <pc:chgData name="Xiaomin Lu" userId="S::xiaomin.lu@gilead.com::42419631-bd19-4e2d-8d0e-2a49042d0d37" providerId="AD" clId="Web-{E2301D62-2DBB-4233-B8D5-91112049D129}" dt="2024-02-28T17:05:38.726" v="6"/>
      <pc:docMkLst>
        <pc:docMk/>
      </pc:docMkLst>
      <pc:sldChg chg="mod modShow modCm">
        <pc:chgData name="Xiaomin Lu" userId="S::xiaomin.lu@gilead.com::42419631-bd19-4e2d-8d0e-2a49042d0d37" providerId="AD" clId="Web-{E2301D62-2DBB-4233-B8D5-91112049D129}" dt="2024-02-28T17:05:23.584" v="3"/>
        <pc:sldMkLst>
          <pc:docMk/>
          <pc:sldMk cId="1952947529" sldId="2147479457"/>
        </pc:sldMkLst>
      </pc:sldChg>
      <pc:sldChg chg="modSp add replId">
        <pc:chgData name="Xiaomin Lu" userId="S::xiaomin.lu@gilead.com::42419631-bd19-4e2d-8d0e-2a49042d0d37" providerId="AD" clId="Web-{E2301D62-2DBB-4233-B8D5-91112049D129}" dt="2024-02-28T17:05:38.726" v="6"/>
        <pc:sldMkLst>
          <pc:docMk/>
          <pc:sldMk cId="1588382006" sldId="2147479470"/>
        </pc:sldMkLst>
        <pc:graphicFrameChg chg="mod modGraphic">
          <ac:chgData name="Xiaomin Lu" userId="S::xiaomin.lu@gilead.com::42419631-bd19-4e2d-8d0e-2a49042d0d37" providerId="AD" clId="Web-{E2301D62-2DBB-4233-B8D5-91112049D129}" dt="2024-02-28T17:05:38.726" v="6"/>
          <ac:graphicFrameMkLst>
            <pc:docMk/>
            <pc:sldMk cId="1588382006" sldId="2147479470"/>
            <ac:graphicFrameMk id="3" creationId="{1BB599FD-6071-5C0B-0CCF-0A8634E74972}"/>
          </ac:graphicFrameMkLst>
        </pc:graphicFrameChg>
      </pc:sldChg>
    </pc:docChg>
  </pc:docChgLst>
  <pc:docChgLst>
    <pc:chgData name="Jason Melehani" userId="S::jason.melehani@gilead.com::93603e9a-d746-4d7c-89da-7c5ef8b091f7" providerId="AD" clId="Web-{CD98D101-E964-BDD5-B7DB-3AE7076BDABE}"/>
    <pc:docChg chg="modSld">
      <pc:chgData name="Jason Melehani" userId="S::jason.melehani@gilead.com::93603e9a-d746-4d7c-89da-7c5ef8b091f7" providerId="AD" clId="Web-{CD98D101-E964-BDD5-B7DB-3AE7076BDABE}" dt="2024-03-20T07:36:10.666" v="166" actId="1076"/>
      <pc:docMkLst>
        <pc:docMk/>
      </pc:docMkLst>
      <pc:sldChg chg="addSp delSp modSp">
        <pc:chgData name="Jason Melehani" userId="S::jason.melehani@gilead.com::93603e9a-d746-4d7c-89da-7c5ef8b091f7" providerId="AD" clId="Web-{CD98D101-E964-BDD5-B7DB-3AE7076BDABE}" dt="2024-03-20T07:36:10.666" v="166" actId="1076"/>
        <pc:sldMkLst>
          <pc:docMk/>
          <pc:sldMk cId="322481365" sldId="2147482129"/>
        </pc:sldMkLst>
        <pc:spChg chg="add del">
          <ac:chgData name="Jason Melehani" userId="S::jason.melehani@gilead.com::93603e9a-d746-4d7c-89da-7c5ef8b091f7" providerId="AD" clId="Web-{CD98D101-E964-BDD5-B7DB-3AE7076BDABE}" dt="2024-03-20T07:33:38.421" v="45"/>
          <ac:spMkLst>
            <pc:docMk/>
            <pc:sldMk cId="322481365" sldId="2147482129"/>
            <ac:spMk id="4" creationId="{D68B48AE-46AA-F1FC-1794-F8557489A99E}"/>
          </ac:spMkLst>
        </pc:spChg>
        <pc:spChg chg="add mod">
          <ac:chgData name="Jason Melehani" userId="S::jason.melehani@gilead.com::93603e9a-d746-4d7c-89da-7c5ef8b091f7" providerId="AD" clId="Web-{CD98D101-E964-BDD5-B7DB-3AE7076BDABE}" dt="2024-03-20T07:34:55.051" v="93" actId="1076"/>
          <ac:spMkLst>
            <pc:docMk/>
            <pc:sldMk cId="322481365" sldId="2147482129"/>
            <ac:spMk id="5" creationId="{81AAE36A-A8FE-FF75-8CEA-A8A25A15FC6B}"/>
          </ac:spMkLst>
        </pc:spChg>
        <pc:spChg chg="mod topLvl">
          <ac:chgData name="Jason Melehani" userId="S::jason.melehani@gilead.com::93603e9a-d746-4d7c-89da-7c5ef8b091f7" providerId="AD" clId="Web-{CD98D101-E964-BDD5-B7DB-3AE7076BDABE}" dt="2024-03-20T07:36:10.666" v="166" actId="1076"/>
          <ac:spMkLst>
            <pc:docMk/>
            <pc:sldMk cId="322481365" sldId="2147482129"/>
            <ac:spMk id="6" creationId="{71B9F19D-E32A-E367-339E-88FF81EFBB3C}"/>
          </ac:spMkLst>
        </pc:spChg>
        <pc:spChg chg="add mod">
          <ac:chgData name="Jason Melehani" userId="S::jason.melehani@gilead.com::93603e9a-d746-4d7c-89da-7c5ef8b091f7" providerId="AD" clId="Web-{CD98D101-E964-BDD5-B7DB-3AE7076BDABE}" dt="2024-03-20T07:34:58.536" v="95" actId="1076"/>
          <ac:spMkLst>
            <pc:docMk/>
            <pc:sldMk cId="322481365" sldId="2147482129"/>
            <ac:spMk id="7" creationId="{CE0A0CE5-A32E-2CF6-DC47-2D64DA74230C}"/>
          </ac:spMkLst>
        </pc:spChg>
        <pc:spChg chg="mod topLvl">
          <ac:chgData name="Jason Melehani" userId="S::jason.melehani@gilead.com::93603e9a-d746-4d7c-89da-7c5ef8b091f7" providerId="AD" clId="Web-{CD98D101-E964-BDD5-B7DB-3AE7076BDABE}" dt="2024-03-20T07:32:45.651" v="7" actId="1076"/>
          <ac:spMkLst>
            <pc:docMk/>
            <pc:sldMk cId="322481365" sldId="2147482129"/>
            <ac:spMk id="13" creationId="{AE2AE70D-FBEB-D605-A6FA-C2A228BB351F}"/>
          </ac:spMkLst>
        </pc:spChg>
        <pc:spChg chg="mod topLvl">
          <ac:chgData name="Jason Melehani" userId="S::jason.melehani@gilead.com::93603e9a-d746-4d7c-89da-7c5ef8b091f7" providerId="AD" clId="Web-{CD98D101-E964-BDD5-B7DB-3AE7076BDABE}" dt="2024-03-20T07:32:48.401" v="8" actId="1076"/>
          <ac:spMkLst>
            <pc:docMk/>
            <pc:sldMk cId="322481365" sldId="2147482129"/>
            <ac:spMk id="14" creationId="{B0ABB225-7D30-2F4A-416B-DAE842626116}"/>
          </ac:spMkLst>
        </pc:spChg>
        <pc:spChg chg="add del">
          <ac:chgData name="Jason Melehani" userId="S::jason.melehani@gilead.com::93603e9a-d746-4d7c-89da-7c5ef8b091f7" providerId="AD" clId="Web-{CD98D101-E964-BDD5-B7DB-3AE7076BDABE}" dt="2024-03-20T07:34:18.142" v="58"/>
          <ac:spMkLst>
            <pc:docMk/>
            <pc:sldMk cId="322481365" sldId="2147482129"/>
            <ac:spMk id="16" creationId="{DAD09B4C-40C4-6DE9-B485-979C3A87F88D}"/>
          </ac:spMkLst>
        </pc:spChg>
        <pc:spChg chg="add mod">
          <ac:chgData name="Jason Melehani" userId="S::jason.melehani@gilead.com::93603e9a-d746-4d7c-89da-7c5ef8b091f7" providerId="AD" clId="Web-{CD98D101-E964-BDD5-B7DB-3AE7076BDABE}" dt="2024-03-20T07:34:58.536" v="96" actId="1076"/>
          <ac:spMkLst>
            <pc:docMk/>
            <pc:sldMk cId="322481365" sldId="2147482129"/>
            <ac:spMk id="17" creationId="{C8D8F608-B917-3D99-2B1C-793EE9264F49}"/>
          </ac:spMkLst>
        </pc:spChg>
        <pc:spChg chg="add mod">
          <ac:chgData name="Jason Melehani" userId="S::jason.melehani@gilead.com::93603e9a-d746-4d7c-89da-7c5ef8b091f7" providerId="AD" clId="Web-{CD98D101-E964-BDD5-B7DB-3AE7076BDABE}" dt="2024-03-20T07:34:55.051" v="94" actId="1076"/>
          <ac:spMkLst>
            <pc:docMk/>
            <pc:sldMk cId="322481365" sldId="2147482129"/>
            <ac:spMk id="18" creationId="{D41280B0-9478-6387-F410-9CE4E23FBB63}"/>
          </ac:spMkLst>
        </pc:spChg>
        <pc:spChg chg="mod">
          <ac:chgData name="Jason Melehani" userId="S::jason.melehani@gilead.com::93603e9a-d746-4d7c-89da-7c5ef8b091f7" providerId="AD" clId="Web-{CD98D101-E964-BDD5-B7DB-3AE7076BDABE}" dt="2024-03-20T07:35:33.444" v="113" actId="20577"/>
          <ac:spMkLst>
            <pc:docMk/>
            <pc:sldMk cId="322481365" sldId="2147482129"/>
            <ac:spMk id="19" creationId="{7BD13D88-0FF3-685E-0BE9-978E91471CAB}"/>
          </ac:spMkLst>
        </pc:spChg>
        <pc:grpChg chg="del">
          <ac:chgData name="Jason Melehani" userId="S::jason.melehani@gilead.com::93603e9a-d746-4d7c-89da-7c5ef8b091f7" providerId="AD" clId="Web-{CD98D101-E964-BDD5-B7DB-3AE7076BDABE}" dt="2024-03-20T07:32:14.727" v="2"/>
          <ac:grpSpMkLst>
            <pc:docMk/>
            <pc:sldMk cId="322481365" sldId="2147482129"/>
            <ac:grpSpMk id="15" creationId="{1A76C0DD-91DC-8F79-C44F-C9DCE46FEEF4}"/>
          </ac:grpSpMkLst>
        </pc:grpChg>
        <pc:picChg chg="add mod ord">
          <ac:chgData name="Jason Melehani" userId="S::jason.melehani@gilead.com::93603e9a-d746-4d7c-89da-7c5ef8b091f7" providerId="AD" clId="Web-{CD98D101-E964-BDD5-B7DB-3AE7076BDABE}" dt="2024-03-20T07:32:40.854" v="6" actId="1076"/>
          <ac:picMkLst>
            <pc:docMk/>
            <pc:sldMk cId="322481365" sldId="2147482129"/>
            <ac:picMk id="2" creationId="{AF14ADFC-40C9-06FC-CDDB-18C284E397E4}"/>
          </ac:picMkLst>
        </pc:picChg>
        <pc:picChg chg="del topLvl">
          <ac:chgData name="Jason Melehani" userId="S::jason.melehani@gilead.com::93603e9a-d746-4d7c-89da-7c5ef8b091f7" providerId="AD" clId="Web-{CD98D101-E964-BDD5-B7DB-3AE7076BDABE}" dt="2024-03-20T07:32:19.555" v="3"/>
          <ac:picMkLst>
            <pc:docMk/>
            <pc:sldMk cId="322481365" sldId="2147482129"/>
            <ac:picMk id="8" creationId="{ECD94D4A-5EC7-699C-9E58-1D6F7FA6DFBB}"/>
          </ac:picMkLst>
        </pc:picChg>
        <pc:cxnChg chg="del topLvl">
          <ac:chgData name="Jason Melehani" userId="S::jason.melehani@gilead.com::93603e9a-d746-4d7c-89da-7c5ef8b091f7" providerId="AD" clId="Web-{CD98D101-E964-BDD5-B7DB-3AE7076BDABE}" dt="2024-03-20T07:32:53.777" v="12"/>
          <ac:cxnSpMkLst>
            <pc:docMk/>
            <pc:sldMk cId="322481365" sldId="2147482129"/>
            <ac:cxnSpMk id="9" creationId="{D8EF9FAD-2F5C-BD46-62AB-1C77675CCB49}"/>
          </ac:cxnSpMkLst>
        </pc:cxnChg>
        <pc:cxnChg chg="del topLvl">
          <ac:chgData name="Jason Melehani" userId="S::jason.melehani@gilead.com::93603e9a-d746-4d7c-89da-7c5ef8b091f7" providerId="AD" clId="Web-{CD98D101-E964-BDD5-B7DB-3AE7076BDABE}" dt="2024-03-20T07:32:53.777" v="11"/>
          <ac:cxnSpMkLst>
            <pc:docMk/>
            <pc:sldMk cId="322481365" sldId="2147482129"/>
            <ac:cxnSpMk id="10" creationId="{AAEC0497-A9D1-96FE-6DE4-FAC2A1B39926}"/>
          </ac:cxnSpMkLst>
        </pc:cxnChg>
        <pc:cxnChg chg="del topLvl">
          <ac:chgData name="Jason Melehani" userId="S::jason.melehani@gilead.com::93603e9a-d746-4d7c-89da-7c5ef8b091f7" providerId="AD" clId="Web-{CD98D101-E964-BDD5-B7DB-3AE7076BDABE}" dt="2024-03-20T07:32:53.777" v="10"/>
          <ac:cxnSpMkLst>
            <pc:docMk/>
            <pc:sldMk cId="322481365" sldId="2147482129"/>
            <ac:cxnSpMk id="11" creationId="{80910D0B-7827-062B-C849-1AE934ED9EEF}"/>
          </ac:cxnSpMkLst>
        </pc:cxnChg>
        <pc:cxnChg chg="del topLvl">
          <ac:chgData name="Jason Melehani" userId="S::jason.melehani@gilead.com::93603e9a-d746-4d7c-89da-7c5ef8b091f7" providerId="AD" clId="Web-{CD98D101-E964-BDD5-B7DB-3AE7076BDABE}" dt="2024-03-20T07:32:53.777" v="9"/>
          <ac:cxnSpMkLst>
            <pc:docMk/>
            <pc:sldMk cId="322481365" sldId="2147482129"/>
            <ac:cxnSpMk id="12" creationId="{759286F1-7F65-188C-4334-71091C652C7C}"/>
          </ac:cxnSpMkLst>
        </pc:cxnChg>
      </pc:sldChg>
    </pc:docChg>
  </pc:docChgLst>
  <pc:docChgLst>
    <pc:chgData name="Rick McGirt" userId="084dd1c1-4729-48d2-b350-e5921353a72c" providerId="ADAL" clId="{EAF64EEB-A141-C942-BE59-B3F966CF840C}"/>
    <pc:docChg chg="custSel delSld modSld modSection">
      <pc:chgData name="Rick McGirt" userId="084dd1c1-4729-48d2-b350-e5921353a72c" providerId="ADAL" clId="{EAF64EEB-A141-C942-BE59-B3F966CF840C}" dt="2024-03-25T23:30:01.754" v="45"/>
      <pc:docMkLst>
        <pc:docMk/>
      </pc:docMkLst>
      <pc:sldChg chg="modSp mod">
        <pc:chgData name="Rick McGirt" userId="084dd1c1-4729-48d2-b350-e5921353a72c" providerId="ADAL" clId="{EAF64EEB-A141-C942-BE59-B3F966CF840C}" dt="2024-03-19T21:28:10.560" v="36" actId="207"/>
        <pc:sldMkLst>
          <pc:docMk/>
          <pc:sldMk cId="2584841147" sldId="2147471742"/>
        </pc:sldMkLst>
        <pc:graphicFrameChg chg="modGraphic">
          <ac:chgData name="Rick McGirt" userId="084dd1c1-4729-48d2-b350-e5921353a72c" providerId="ADAL" clId="{EAF64EEB-A141-C942-BE59-B3F966CF840C}" dt="2024-03-19T21:28:10.560" v="36" actId="207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  <pc:sldChg chg="modCm">
        <pc:chgData name="Rick McGirt" userId="084dd1c1-4729-48d2-b350-e5921353a72c" providerId="ADAL" clId="{EAF64EEB-A141-C942-BE59-B3F966CF840C}" dt="2024-03-25T23:16:42.324" v="44" actId="2056"/>
        <pc:sldMkLst>
          <pc:docMk/>
          <pc:sldMk cId="3190076938" sldId="2147472670"/>
        </pc:sldMkLst>
      </pc:sldChg>
      <pc:sldChg chg="addCm">
        <pc:chgData name="Rick McGirt" userId="084dd1c1-4729-48d2-b350-e5921353a72c" providerId="ADAL" clId="{EAF64EEB-A141-C942-BE59-B3F966CF840C}" dt="2024-03-25T23:30:01.754" v="45"/>
        <pc:sldMkLst>
          <pc:docMk/>
          <pc:sldMk cId="3183540392" sldId="2147479420"/>
        </pc:sldMkLst>
      </pc:sldChg>
      <pc:sldChg chg="del">
        <pc:chgData name="Rick McGirt" userId="084dd1c1-4729-48d2-b350-e5921353a72c" providerId="ADAL" clId="{EAF64EEB-A141-C942-BE59-B3F966CF840C}" dt="2024-03-19T21:16:05.473" v="31" actId="2696"/>
        <pc:sldMkLst>
          <pc:docMk/>
          <pc:sldMk cId="3126710675" sldId="2147479476"/>
        </pc:sldMkLst>
      </pc:sldChg>
      <pc:sldChg chg="modSp mod modCm">
        <pc:chgData name="Rick McGirt" userId="084dd1c1-4729-48d2-b350-e5921353a72c" providerId="ADAL" clId="{EAF64EEB-A141-C942-BE59-B3F966CF840C}" dt="2024-03-19T21:53:01.296" v="42" actId="20577"/>
        <pc:sldMkLst>
          <pc:docMk/>
          <pc:sldMk cId="3450164358" sldId="2147482128"/>
        </pc:sldMkLst>
        <pc:spChg chg="mod">
          <ac:chgData name="Rick McGirt" userId="084dd1c1-4729-48d2-b350-e5921353a72c" providerId="ADAL" clId="{EAF64EEB-A141-C942-BE59-B3F966CF840C}" dt="2024-03-19T18:07:43.576" v="30" actId="1076"/>
          <ac:spMkLst>
            <pc:docMk/>
            <pc:sldMk cId="3450164358" sldId="2147482128"/>
            <ac:spMk id="5" creationId="{4F3F71A0-5CD2-E964-367D-AC7A5470FDB0}"/>
          </ac:spMkLst>
        </pc:spChg>
        <pc:graphicFrameChg chg="modGraphic">
          <ac:chgData name="Rick McGirt" userId="084dd1c1-4729-48d2-b350-e5921353a72c" providerId="ADAL" clId="{EAF64EEB-A141-C942-BE59-B3F966CF840C}" dt="2024-03-19T21:53:01.296" v="42" actId="20577"/>
          <ac:graphicFrameMkLst>
            <pc:docMk/>
            <pc:sldMk cId="3450164358" sldId="2147482128"/>
            <ac:graphicFrameMk id="4" creationId="{BE38E089-BBF7-5339-EF73-F68B7686C21D}"/>
          </ac:graphicFrameMkLst>
        </pc:graphicFrameChg>
      </pc:sldChg>
      <pc:sldChg chg="modCm">
        <pc:chgData name="Rick McGirt" userId="084dd1c1-4729-48d2-b350-e5921353a72c" providerId="ADAL" clId="{EAF64EEB-A141-C942-BE59-B3F966CF840C}" dt="2024-03-25T22:06:09.383" v="43" actId="2056"/>
        <pc:sldMkLst>
          <pc:docMk/>
          <pc:sldMk cId="1537990309" sldId="2147482150"/>
        </pc:sldMkLst>
      </pc:sldChg>
    </pc:docChg>
  </pc:docChgLst>
  <pc:docChgLst>
    <pc:chgData name="Lisa Boyette" userId="24cc2e01-2130-4f78-ae8d-8253b197adea" providerId="ADAL" clId="{EB40D598-A455-41A5-B3E8-17B40DFC6A6B}"/>
    <pc:docChg chg="undo custSel addSld delSld modSld modSection">
      <pc:chgData name="Lisa Boyette" userId="24cc2e01-2130-4f78-ae8d-8253b197adea" providerId="ADAL" clId="{EB40D598-A455-41A5-B3E8-17B40DFC6A6B}" dt="2024-02-26T19:33:24.296" v="773" actId="207"/>
      <pc:docMkLst>
        <pc:docMk/>
      </pc:docMkLst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215832937" sldId="257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249047811" sldId="257"/>
        </pc:sldMkLst>
      </pc:sldChg>
      <pc:sldChg chg="addCm">
        <pc:chgData name="Lisa Boyette" userId="24cc2e01-2130-4f78-ae8d-8253b197adea" providerId="ADAL" clId="{EB40D598-A455-41A5-B3E8-17B40DFC6A6B}" dt="2024-02-23T19:45:50.069" v="762"/>
        <pc:sldMkLst>
          <pc:docMk/>
          <pc:sldMk cId="1225182204" sldId="2146847932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834355059" sldId="2146847939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4052330579" sldId="2146847939"/>
        </pc:sldMkLst>
      </pc:sldChg>
      <pc:sldChg chg="del">
        <pc:chgData name="Lisa Boyette" userId="24cc2e01-2130-4f78-ae8d-8253b197adea" providerId="ADAL" clId="{EB40D598-A455-41A5-B3E8-17B40DFC6A6B}" dt="2024-02-21T18:41:02.003" v="28" actId="47"/>
        <pc:sldMkLst>
          <pc:docMk/>
          <pc:sldMk cId="3093931967" sldId="2146847943"/>
        </pc:sldMkLst>
      </pc:sldChg>
      <pc:sldChg chg="del">
        <pc:chgData name="Lisa Boyette" userId="24cc2e01-2130-4f78-ae8d-8253b197adea" providerId="ADAL" clId="{EB40D598-A455-41A5-B3E8-17B40DFC6A6B}" dt="2024-02-21T18:41:01.311" v="27" actId="47"/>
        <pc:sldMkLst>
          <pc:docMk/>
          <pc:sldMk cId="2867391056" sldId="2146847944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2878628130" sldId="2147471455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3238958266" sldId="2147471455"/>
        </pc:sldMkLst>
      </pc:sldChg>
      <pc:sldChg chg="modSp mod">
        <pc:chgData name="Lisa Boyette" userId="24cc2e01-2130-4f78-ae8d-8253b197adea" providerId="ADAL" clId="{EB40D598-A455-41A5-B3E8-17B40DFC6A6B}" dt="2024-02-21T18:38:12.951" v="22" actId="20577"/>
        <pc:sldMkLst>
          <pc:docMk/>
          <pc:sldMk cId="3409962921" sldId="2147479354"/>
        </pc:sldMkLst>
        <pc:spChg chg="mod">
          <ac:chgData name="Lisa Boyette" userId="24cc2e01-2130-4f78-ae8d-8253b197adea" providerId="ADAL" clId="{EB40D598-A455-41A5-B3E8-17B40DFC6A6B}" dt="2024-02-21T18:38:12.951" v="22" actId="20577"/>
          <ac:spMkLst>
            <pc:docMk/>
            <pc:sldMk cId="3409962921" sldId="2147479354"/>
            <ac:spMk id="2" creationId="{3D321EFC-5E8A-9953-7B24-8FEBE70A13E4}"/>
          </ac:spMkLst>
        </pc:spChg>
      </pc:sldChg>
      <pc:sldChg chg="del">
        <pc:chgData name="Lisa Boyette" userId="24cc2e01-2130-4f78-ae8d-8253b197adea" providerId="ADAL" clId="{EB40D598-A455-41A5-B3E8-17B40DFC6A6B}" dt="2024-02-21T18:40:59.977" v="26" actId="47"/>
        <pc:sldMkLst>
          <pc:docMk/>
          <pc:sldMk cId="1190109995" sldId="2147479413"/>
        </pc:sldMkLst>
      </pc:sldChg>
      <pc:sldChg chg="del">
        <pc:chgData name="Lisa Boyette" userId="24cc2e01-2130-4f78-ae8d-8253b197adea" providerId="ADAL" clId="{EB40D598-A455-41A5-B3E8-17B40DFC6A6B}" dt="2024-02-21T18:40:57.677" v="25" actId="47"/>
        <pc:sldMkLst>
          <pc:docMk/>
          <pc:sldMk cId="155362270" sldId="2147479414"/>
        </pc:sldMkLst>
      </pc:sldChg>
      <pc:sldChg chg="del">
        <pc:chgData name="Lisa Boyette" userId="24cc2e01-2130-4f78-ae8d-8253b197adea" providerId="ADAL" clId="{EB40D598-A455-41A5-B3E8-17B40DFC6A6B}" dt="2024-02-21T18:41:12.460" v="29" actId="47"/>
        <pc:sldMkLst>
          <pc:docMk/>
          <pc:sldMk cId="3423029267" sldId="2147479417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813900644" sldId="2147479420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3287820964" sldId="2147479420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814399304" sldId="2147479421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1434062901" sldId="2147479421"/>
        </pc:sldMkLst>
      </pc:sldChg>
      <pc:sldChg chg="modSp mod">
        <pc:chgData name="Lisa Boyette" userId="24cc2e01-2130-4f78-ae8d-8253b197adea" providerId="ADAL" clId="{EB40D598-A455-41A5-B3E8-17B40DFC6A6B}" dt="2024-02-21T18:42:36.536" v="104" actId="20577"/>
        <pc:sldMkLst>
          <pc:docMk/>
          <pc:sldMk cId="1526386012" sldId="2147479428"/>
        </pc:sldMkLst>
        <pc:spChg chg="mod">
          <ac:chgData name="Lisa Boyette" userId="24cc2e01-2130-4f78-ae8d-8253b197adea" providerId="ADAL" clId="{EB40D598-A455-41A5-B3E8-17B40DFC6A6B}" dt="2024-02-21T18:42:36.536" v="104" actId="20577"/>
          <ac:spMkLst>
            <pc:docMk/>
            <pc:sldMk cId="1526386012" sldId="2147479428"/>
            <ac:spMk id="2" creationId="{09E52552-3E82-EBF0-C465-E29FBFA71F99}"/>
          </ac:spMkLst>
        </pc:spChg>
      </pc:sldChg>
      <pc:sldChg chg="del">
        <pc:chgData name="Lisa Boyette" userId="24cc2e01-2130-4f78-ae8d-8253b197adea" providerId="ADAL" clId="{EB40D598-A455-41A5-B3E8-17B40DFC6A6B}" dt="2024-02-21T18:40:50.847" v="23" actId="47"/>
        <pc:sldMkLst>
          <pc:docMk/>
          <pc:sldMk cId="3658998517" sldId="2147479432"/>
        </pc:sldMkLst>
      </pc:sldChg>
      <pc:sldChg chg="del">
        <pc:chgData name="Lisa Boyette" userId="24cc2e01-2130-4f78-ae8d-8253b197adea" providerId="ADAL" clId="{EB40D598-A455-41A5-B3E8-17B40DFC6A6B}" dt="2024-02-21T18:40:55.083" v="24" actId="47"/>
        <pc:sldMkLst>
          <pc:docMk/>
          <pc:sldMk cId="2559804866" sldId="2147479433"/>
        </pc:sldMkLst>
      </pc:sldChg>
      <pc:sldChg chg="del">
        <pc:chgData name="Lisa Boyette" userId="24cc2e01-2130-4f78-ae8d-8253b197adea" providerId="ADAL" clId="{EB40D598-A455-41A5-B3E8-17B40DFC6A6B}" dt="2024-02-21T18:41:15.360" v="30" actId="47"/>
        <pc:sldMkLst>
          <pc:docMk/>
          <pc:sldMk cId="3303946998" sldId="2147479434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988116671" sldId="2147479435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3993775218" sldId="2147479435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2906243649" sldId="2147479443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3512055902" sldId="2147479443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2166100855" sldId="2147479444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2590114024" sldId="2147479444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1299036735" sldId="2147479445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2878015881" sldId="2147479445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2151470337" sldId="2147479446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3856941195" sldId="2147479446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213302228" sldId="2147479447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4009226137" sldId="2147479447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619168719" sldId="2147479448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3145677939" sldId="2147479448"/>
        </pc:sldMkLst>
      </pc:sldChg>
      <pc:sldChg chg="del">
        <pc:chgData name="Lisa Boyette" userId="24cc2e01-2130-4f78-ae8d-8253b197adea" providerId="ADAL" clId="{EB40D598-A455-41A5-B3E8-17B40DFC6A6B}" dt="2024-02-21T18:41:48.784" v="31" actId="2696"/>
        <pc:sldMkLst>
          <pc:docMk/>
          <pc:sldMk cId="316202677" sldId="2147479449"/>
        </pc:sldMkLst>
      </pc:sldChg>
      <pc:sldChg chg="add">
        <pc:chgData name="Lisa Boyette" userId="24cc2e01-2130-4f78-ae8d-8253b197adea" providerId="ADAL" clId="{EB40D598-A455-41A5-B3E8-17B40DFC6A6B}" dt="2024-02-21T18:42:14.912" v="32"/>
        <pc:sldMkLst>
          <pc:docMk/>
          <pc:sldMk cId="2189537194" sldId="2147479449"/>
        </pc:sldMkLst>
      </pc:sldChg>
      <pc:sldChg chg="addSp modSp new mod">
        <pc:chgData name="Lisa Boyette" userId="24cc2e01-2130-4f78-ae8d-8253b197adea" providerId="ADAL" clId="{EB40D598-A455-41A5-B3E8-17B40DFC6A6B}" dt="2024-02-23T19:50:52.192" v="765" actId="20577"/>
        <pc:sldMkLst>
          <pc:docMk/>
          <pc:sldMk cId="2137990208" sldId="2147479455"/>
        </pc:sldMkLst>
        <pc:spChg chg="mod">
          <ac:chgData name="Lisa Boyette" userId="24cc2e01-2130-4f78-ae8d-8253b197adea" providerId="ADAL" clId="{EB40D598-A455-41A5-B3E8-17B40DFC6A6B}" dt="2024-02-21T18:46:01.394" v="130" actId="20577"/>
          <ac:spMkLst>
            <pc:docMk/>
            <pc:sldMk cId="2137990208" sldId="2147479455"/>
            <ac:spMk id="2" creationId="{96787E18-F2A8-4AE7-E9B1-EAC9F7606634}"/>
          </ac:spMkLst>
        </pc:spChg>
        <pc:graphicFrameChg chg="add mod modGraphic">
          <ac:chgData name="Lisa Boyette" userId="24cc2e01-2130-4f78-ae8d-8253b197adea" providerId="ADAL" clId="{EB40D598-A455-41A5-B3E8-17B40DFC6A6B}" dt="2024-02-23T19:50:52.192" v="765" actId="20577"/>
          <ac:graphicFrameMkLst>
            <pc:docMk/>
            <pc:sldMk cId="2137990208" sldId="2147479455"/>
            <ac:graphicFrameMk id="4" creationId="{BE38E089-BBF7-5339-EF73-F68B7686C21D}"/>
          </ac:graphicFrameMkLst>
        </pc:graphicFrameChg>
      </pc:sldChg>
      <pc:sldChg chg="addSp modSp mod">
        <pc:chgData name="Lisa Boyette" userId="24cc2e01-2130-4f78-ae8d-8253b197adea" providerId="ADAL" clId="{EB40D598-A455-41A5-B3E8-17B40DFC6A6B}" dt="2024-02-26T19:33:24.296" v="773" actId="207"/>
        <pc:sldMkLst>
          <pc:docMk/>
          <pc:sldMk cId="1952947529" sldId="2147479457"/>
        </pc:sldMkLst>
        <pc:spChg chg="add mod">
          <ac:chgData name="Lisa Boyette" userId="24cc2e01-2130-4f78-ae8d-8253b197adea" providerId="ADAL" clId="{EB40D598-A455-41A5-B3E8-17B40DFC6A6B}" dt="2024-02-26T19:33:24.296" v="773" actId="207"/>
          <ac:spMkLst>
            <pc:docMk/>
            <pc:sldMk cId="1952947529" sldId="2147479457"/>
            <ac:spMk id="5" creationId="{50F7BDEC-C309-8446-377D-363E5B294F1F}"/>
          </ac:spMkLst>
        </pc:spChg>
      </pc:sldChg>
    </pc:docChg>
  </pc:docChgLst>
  <pc:docChgLst>
    <pc:chgData name="Julie Peloquin" userId="S::julie.peloquin@gilead.com::5c74c883-0e1a-441f-9270-90f97de9a2e7" providerId="AD" clId="Web-{D8DFE5E7-0A81-59D6-6752-ADBAED143195}"/>
    <pc:docChg chg="">
      <pc:chgData name="Julie Peloquin" userId="S::julie.peloquin@gilead.com::5c74c883-0e1a-441f-9270-90f97de9a2e7" providerId="AD" clId="Web-{D8DFE5E7-0A81-59D6-6752-ADBAED143195}" dt="2024-01-31T22:05:43.187" v="6"/>
      <pc:docMkLst>
        <pc:docMk/>
      </pc:docMkLst>
      <pc:sldChg chg="modCm">
        <pc:chgData name="Julie Peloquin" userId="S::julie.peloquin@gilead.com::5c74c883-0e1a-441f-9270-90f97de9a2e7" providerId="AD" clId="Web-{D8DFE5E7-0A81-59D6-6752-ADBAED143195}" dt="2024-01-31T21:59:13.518" v="3"/>
        <pc:sldMkLst>
          <pc:docMk/>
          <pc:sldMk cId="3423029267" sldId="2147479417"/>
        </pc:sldMkLst>
      </pc:sldChg>
      <pc:sldChg chg="addCm">
        <pc:chgData name="Julie Peloquin" userId="S::julie.peloquin@gilead.com::5c74c883-0e1a-441f-9270-90f97de9a2e7" providerId="AD" clId="Web-{D8DFE5E7-0A81-59D6-6752-ADBAED143195}" dt="2024-01-31T21:03:32.776" v="0"/>
        <pc:sldMkLst>
          <pc:docMk/>
          <pc:sldMk cId="3287820964" sldId="2147479420"/>
        </pc:sldMkLst>
      </pc:sldChg>
      <pc:sldChg chg="addCm">
        <pc:chgData name="Julie Peloquin" userId="S::julie.peloquin@gilead.com::5c74c883-0e1a-441f-9270-90f97de9a2e7" providerId="AD" clId="Web-{D8DFE5E7-0A81-59D6-6752-ADBAED143195}" dt="2024-01-31T22:02:46.736" v="5"/>
        <pc:sldMkLst>
          <pc:docMk/>
          <pc:sldMk cId="988116671" sldId="2147479435"/>
        </pc:sldMkLst>
      </pc:sldChg>
      <pc:sldChg chg="modCm">
        <pc:chgData name="Julie Peloquin" userId="S::julie.peloquin@gilead.com::5c74c883-0e1a-441f-9270-90f97de9a2e7" providerId="AD" clId="Web-{D8DFE5E7-0A81-59D6-6752-ADBAED143195}" dt="2024-01-31T22:05:43.187" v="6"/>
        <pc:sldMkLst>
          <pc:docMk/>
          <pc:sldMk cId="2166100855" sldId="2147479444"/>
        </pc:sldMkLst>
      </pc:sldChg>
    </pc:docChg>
  </pc:docChgLst>
  <pc:docChgLst>
    <pc:chgData name="JaeB Kim" userId="S::jaeb.kim31@gilead.com::4d3b572d-d26a-4ed7-92e4-3ecc7b648986" providerId="AD" clId="Web-{40840AD7-A541-1C73-34F1-0EB3C8065CB2}"/>
    <pc:docChg chg="sldOrd">
      <pc:chgData name="JaeB Kim" userId="S::jaeb.kim31@gilead.com::4d3b572d-d26a-4ed7-92e4-3ecc7b648986" providerId="AD" clId="Web-{40840AD7-A541-1C73-34F1-0EB3C8065CB2}" dt="2024-05-15T17:26:08.741" v="1"/>
      <pc:docMkLst>
        <pc:docMk/>
      </pc:docMkLst>
      <pc:sldChg chg="ord">
        <pc:chgData name="JaeB Kim" userId="S::jaeb.kim31@gilead.com::4d3b572d-d26a-4ed7-92e4-3ecc7b648986" providerId="AD" clId="Web-{40840AD7-A541-1C73-34F1-0EB3C8065CB2}" dt="2024-05-15T17:26:08.741" v="1"/>
        <pc:sldMkLst>
          <pc:docMk/>
          <pc:sldMk cId="4285167944" sldId="2147479356"/>
        </pc:sldMkLst>
      </pc:sldChg>
    </pc:docChg>
  </pc:docChgLst>
  <pc:docChgLst>
    <pc:chgData name="Jason Melehani" userId="S::jason.melehani@gilead.com::93603e9a-d746-4d7c-89da-7c5ef8b091f7" providerId="AD" clId="Web-{06FDD082-52B3-87D4-4228-0A7A4CE518C0}"/>
    <pc:docChg chg="">
      <pc:chgData name="Jason Melehani" userId="S::jason.melehani@gilead.com::93603e9a-d746-4d7c-89da-7c5ef8b091f7" providerId="AD" clId="Web-{06FDD082-52B3-87D4-4228-0A7A4CE518C0}" dt="2024-03-15T15:10:33.136" v="1"/>
      <pc:docMkLst>
        <pc:docMk/>
      </pc:docMkLst>
      <pc:sldChg chg="addCm modCm">
        <pc:chgData name="Jason Melehani" userId="S::jason.melehani@gilead.com::93603e9a-d746-4d7c-89da-7c5ef8b091f7" providerId="AD" clId="Web-{06FDD082-52B3-87D4-4228-0A7A4CE518C0}" dt="2024-03-15T15:10:33.136" v="1"/>
        <pc:sldMkLst>
          <pc:docMk/>
          <pc:sldMk cId="1588382006" sldId="2147479470"/>
        </pc:sldMkLst>
      </pc:sldChg>
    </pc:docChg>
  </pc:docChgLst>
  <pc:docChgLst>
    <pc:chgData name="Rick McGirt" userId="084dd1c1-4729-48d2-b350-e5921353a72c" providerId="ADAL" clId="{9CE0F174-3E3B-A24D-AA6C-1B13D73BE4A7}"/>
    <pc:docChg chg="undo custSel addSld modSld sldOrd modSection">
      <pc:chgData name="Rick McGirt" userId="084dd1c1-4729-48d2-b350-e5921353a72c" providerId="ADAL" clId="{9CE0F174-3E3B-A24D-AA6C-1B13D73BE4A7}" dt="2024-03-18T23:47:32.015" v="4126" actId="207"/>
      <pc:docMkLst>
        <pc:docMk/>
      </pc:docMkLst>
      <pc:sldChg chg="modSp add mod setBg delCm modCm">
        <pc:chgData name="Rick McGirt" userId="084dd1c1-4729-48d2-b350-e5921353a72c" providerId="ADAL" clId="{9CE0F174-3E3B-A24D-AA6C-1B13D73BE4A7}" dt="2024-03-18T23:47:32.015" v="4126" actId="207"/>
        <pc:sldMkLst>
          <pc:docMk/>
          <pc:sldMk cId="2584841147" sldId="2147471742"/>
        </pc:sldMkLst>
        <pc:graphicFrameChg chg="mod modGraphic">
          <ac:chgData name="Rick McGirt" userId="084dd1c1-4729-48d2-b350-e5921353a72c" providerId="ADAL" clId="{9CE0F174-3E3B-A24D-AA6C-1B13D73BE4A7}" dt="2024-03-18T23:47:32.015" v="4126" actId="207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  <pc:sldChg chg="modSp mod modShow">
        <pc:chgData name="Rick McGirt" userId="084dd1c1-4729-48d2-b350-e5921353a72c" providerId="ADAL" clId="{9CE0F174-3E3B-A24D-AA6C-1B13D73BE4A7}" dt="2024-03-18T23:21:01.913" v="4028" actId="729"/>
        <pc:sldMkLst>
          <pc:docMk/>
          <pc:sldMk cId="2137990208" sldId="2147479455"/>
        </pc:sldMkLst>
        <pc:graphicFrameChg chg="modGraphic">
          <ac:chgData name="Rick McGirt" userId="084dd1c1-4729-48d2-b350-e5921353a72c" providerId="ADAL" clId="{9CE0F174-3E3B-A24D-AA6C-1B13D73BE4A7}" dt="2024-03-18T19:14:21.087" v="840" actId="20577"/>
          <ac:graphicFrameMkLst>
            <pc:docMk/>
            <pc:sldMk cId="2137990208" sldId="2147479455"/>
            <ac:graphicFrameMk id="4" creationId="{BE38E089-BBF7-5339-EF73-F68B7686C21D}"/>
          </ac:graphicFrameMkLst>
        </pc:graphicFrameChg>
      </pc:sldChg>
      <pc:sldChg chg="addSp modSp new mod modShow">
        <pc:chgData name="Rick McGirt" userId="084dd1c1-4729-48d2-b350-e5921353a72c" providerId="ADAL" clId="{9CE0F174-3E3B-A24D-AA6C-1B13D73BE4A7}" dt="2024-03-18T23:20:52.046" v="4026" actId="729"/>
        <pc:sldMkLst>
          <pc:docMk/>
          <pc:sldMk cId="3126710675" sldId="2147479476"/>
        </pc:sldMkLst>
        <pc:spChg chg="mod">
          <ac:chgData name="Rick McGirt" userId="084dd1c1-4729-48d2-b350-e5921353a72c" providerId="ADAL" clId="{9CE0F174-3E3B-A24D-AA6C-1B13D73BE4A7}" dt="2024-03-18T06:09:30.682" v="113" actId="20577"/>
          <ac:spMkLst>
            <pc:docMk/>
            <pc:sldMk cId="3126710675" sldId="2147479476"/>
            <ac:spMk id="2" creationId="{92A35801-79E8-CD3C-D0DB-8806A4F0534D}"/>
          </ac:spMkLst>
        </pc:spChg>
        <pc:graphicFrameChg chg="add mod modGraphic">
          <ac:chgData name="Rick McGirt" userId="084dd1c1-4729-48d2-b350-e5921353a72c" providerId="ADAL" clId="{9CE0F174-3E3B-A24D-AA6C-1B13D73BE4A7}" dt="2024-03-18T20:40:54.417" v="850" actId="14100"/>
          <ac:graphicFrameMkLst>
            <pc:docMk/>
            <pc:sldMk cId="3126710675" sldId="2147479476"/>
            <ac:graphicFrameMk id="4" creationId="{A4E42C46-3083-19E3-D111-210F42CA16BC}"/>
          </ac:graphicFrameMkLst>
        </pc:graphicFrameChg>
      </pc:sldChg>
      <pc:sldChg chg="modSp mod">
        <pc:chgData name="Rick McGirt" userId="084dd1c1-4729-48d2-b350-e5921353a72c" providerId="ADAL" clId="{9CE0F174-3E3B-A24D-AA6C-1B13D73BE4A7}" dt="2024-03-18T23:27:42.789" v="4071" actId="207"/>
        <pc:sldMkLst>
          <pc:docMk/>
          <pc:sldMk cId="2619622909" sldId="2147479481"/>
        </pc:sldMkLst>
        <pc:graphicFrameChg chg="mod modGraphic">
          <ac:chgData name="Rick McGirt" userId="084dd1c1-4729-48d2-b350-e5921353a72c" providerId="ADAL" clId="{9CE0F174-3E3B-A24D-AA6C-1B13D73BE4A7}" dt="2024-03-18T23:27:42.789" v="4071" actId="207"/>
          <ac:graphicFrameMkLst>
            <pc:docMk/>
            <pc:sldMk cId="2619622909" sldId="2147479481"/>
            <ac:graphicFrameMk id="2" creationId="{3B163526-BF01-46CA-8C94-CE7564279017}"/>
          </ac:graphicFrameMkLst>
        </pc:graphicFrameChg>
      </pc:sldChg>
      <pc:sldChg chg="addSp modSp add mod ord">
        <pc:chgData name="Rick McGirt" userId="084dd1c1-4729-48d2-b350-e5921353a72c" providerId="ADAL" clId="{9CE0F174-3E3B-A24D-AA6C-1B13D73BE4A7}" dt="2024-03-18T23:20:58.902" v="4027" actId="20578"/>
        <pc:sldMkLst>
          <pc:docMk/>
          <pc:sldMk cId="3450164358" sldId="2147482128"/>
        </pc:sldMkLst>
        <pc:spChg chg="mod">
          <ac:chgData name="Rick McGirt" userId="084dd1c1-4729-48d2-b350-e5921353a72c" providerId="ADAL" clId="{9CE0F174-3E3B-A24D-AA6C-1B13D73BE4A7}" dt="2024-03-18T23:14:17.937" v="3918" actId="14100"/>
          <ac:spMkLst>
            <pc:docMk/>
            <pc:sldMk cId="3450164358" sldId="2147482128"/>
            <ac:spMk id="2" creationId="{96787E18-F2A8-4AE7-E9B1-EAC9F7606634}"/>
          </ac:spMkLst>
        </pc:spChg>
        <pc:spChg chg="add mod">
          <ac:chgData name="Rick McGirt" userId="084dd1c1-4729-48d2-b350-e5921353a72c" providerId="ADAL" clId="{9CE0F174-3E3B-A24D-AA6C-1B13D73BE4A7}" dt="2024-03-18T23:17:55.633" v="4000" actId="14100"/>
          <ac:spMkLst>
            <pc:docMk/>
            <pc:sldMk cId="3450164358" sldId="2147482128"/>
            <ac:spMk id="5" creationId="{4F3F71A0-5CD2-E964-367D-AC7A5470FDB0}"/>
          </ac:spMkLst>
        </pc:spChg>
        <pc:spChg chg="add mod">
          <ac:chgData name="Rick McGirt" userId="084dd1c1-4729-48d2-b350-e5921353a72c" providerId="ADAL" clId="{9CE0F174-3E3B-A24D-AA6C-1B13D73BE4A7}" dt="2024-03-18T23:20:28.507" v="4025" actId="20577"/>
          <ac:spMkLst>
            <pc:docMk/>
            <pc:sldMk cId="3450164358" sldId="2147482128"/>
            <ac:spMk id="6" creationId="{D6EC1548-A7CB-895B-E655-288ECB8612FA}"/>
          </ac:spMkLst>
        </pc:spChg>
        <pc:graphicFrameChg chg="mod modGraphic">
          <ac:chgData name="Rick McGirt" userId="084dd1c1-4729-48d2-b350-e5921353a72c" providerId="ADAL" clId="{9CE0F174-3E3B-A24D-AA6C-1B13D73BE4A7}" dt="2024-03-18T23:17:22.667" v="3995" actId="1076"/>
          <ac:graphicFrameMkLst>
            <pc:docMk/>
            <pc:sldMk cId="3450164358" sldId="2147482128"/>
            <ac:graphicFrameMk id="4" creationId="{BE38E089-BBF7-5339-EF73-F68B7686C21D}"/>
          </ac:graphicFrameMkLst>
        </pc:graphicFrameChg>
      </pc:sldChg>
    </pc:docChg>
  </pc:docChgLst>
  <pc:docChgLst>
    <pc:chgData name="Shahla Bolbolan" userId="4e5faef4-051b-4adc-b291-0d435384080a" providerId="ADAL" clId="{3B004E15-A99C-403D-99D8-EDEA5450AD6B}"/>
    <pc:docChg chg="undo redo custSel addSld delSld modSld sldOrd addMainMaster delMainMaster modSection">
      <pc:chgData name="Shahla Bolbolan" userId="4e5faef4-051b-4adc-b291-0d435384080a" providerId="ADAL" clId="{3B004E15-A99C-403D-99D8-EDEA5450AD6B}" dt="2024-03-11T19:19:22.243" v="2037" actId="255"/>
      <pc:docMkLst>
        <pc:docMk/>
      </pc:docMkLst>
      <pc:sldChg chg="modSp mod">
        <pc:chgData name="Shahla Bolbolan" userId="4e5faef4-051b-4adc-b291-0d435384080a" providerId="ADAL" clId="{3B004E15-A99C-403D-99D8-EDEA5450AD6B}" dt="2024-02-27T20:12:18.951" v="608" actId="20577"/>
        <pc:sldMkLst>
          <pc:docMk/>
          <pc:sldMk cId="215832937" sldId="257"/>
        </pc:sldMkLst>
        <pc:graphicFrameChg chg="modGraphic">
          <ac:chgData name="Shahla Bolbolan" userId="4e5faef4-051b-4adc-b291-0d435384080a" providerId="ADAL" clId="{3B004E15-A99C-403D-99D8-EDEA5450AD6B}" dt="2024-02-27T20:12:18.951" v="608" actId="20577"/>
          <ac:graphicFrameMkLst>
            <pc:docMk/>
            <pc:sldMk cId="215832937" sldId="257"/>
            <ac:graphicFrameMk id="5" creationId="{F7F490B3-B450-7FC7-627F-64DA99C54319}"/>
          </ac:graphicFrameMkLst>
        </pc:graphicFrameChg>
      </pc:sldChg>
      <pc:sldChg chg="modCm">
        <pc:chgData name="Shahla Bolbolan" userId="4e5faef4-051b-4adc-b291-0d435384080a" providerId="ADAL" clId="{3B004E15-A99C-403D-99D8-EDEA5450AD6B}" dt="2024-02-23T21:23:20.534" v="4"/>
        <pc:sldMkLst>
          <pc:docMk/>
          <pc:sldMk cId="1225182204" sldId="2146847932"/>
        </pc:sldMkLst>
      </pc:sldChg>
      <pc:sldChg chg="modSp mod">
        <pc:chgData name="Shahla Bolbolan" userId="4e5faef4-051b-4adc-b291-0d435384080a" providerId="ADAL" clId="{3B004E15-A99C-403D-99D8-EDEA5450AD6B}" dt="2024-02-26T22:14:01.850" v="21" actId="20577"/>
        <pc:sldMkLst>
          <pc:docMk/>
          <pc:sldMk cId="1226772100" sldId="2146847938"/>
        </pc:sldMkLst>
        <pc:spChg chg="mod">
          <ac:chgData name="Shahla Bolbolan" userId="4e5faef4-051b-4adc-b291-0d435384080a" providerId="ADAL" clId="{3B004E15-A99C-403D-99D8-EDEA5450AD6B}" dt="2024-02-26T22:14:01.850" v="21" actId="20577"/>
          <ac:spMkLst>
            <pc:docMk/>
            <pc:sldMk cId="1226772100" sldId="2146847938"/>
            <ac:spMk id="4" creationId="{BF5B135B-1B07-5516-1C64-BFB78718F221}"/>
          </ac:spMkLst>
        </pc:spChg>
      </pc:sldChg>
      <pc:sldChg chg="ord">
        <pc:chgData name="Shahla Bolbolan" userId="4e5faef4-051b-4adc-b291-0d435384080a" providerId="ADAL" clId="{3B004E15-A99C-403D-99D8-EDEA5450AD6B}" dt="2024-02-26T22:16:17.917" v="24" actId="20578"/>
        <pc:sldMkLst>
          <pc:docMk/>
          <pc:sldMk cId="1652830289" sldId="2147479438"/>
        </pc:sldMkLst>
      </pc:sldChg>
      <pc:sldChg chg="modSp mod">
        <pc:chgData name="Shahla Bolbolan" userId="4e5faef4-051b-4adc-b291-0d435384080a" providerId="ADAL" clId="{3B004E15-A99C-403D-99D8-EDEA5450AD6B}" dt="2024-02-26T22:28:44.418" v="47" actId="14100"/>
        <pc:sldMkLst>
          <pc:docMk/>
          <pc:sldMk cId="2189537194" sldId="2147479449"/>
        </pc:sldMkLst>
        <pc:graphicFrameChg chg="mod modGraphic">
          <ac:chgData name="Shahla Bolbolan" userId="4e5faef4-051b-4adc-b291-0d435384080a" providerId="ADAL" clId="{3B004E15-A99C-403D-99D8-EDEA5450AD6B}" dt="2024-02-26T22:28:44.418" v="47" actId="14100"/>
          <ac:graphicFrameMkLst>
            <pc:docMk/>
            <pc:sldMk cId="2189537194" sldId="2147479449"/>
            <ac:graphicFrameMk id="3" creationId="{5781A808-0FF7-D764-C243-D0DE4B69C03B}"/>
          </ac:graphicFrameMkLst>
        </pc:graphicFrameChg>
      </pc:sldChg>
      <pc:sldChg chg="add ord">
        <pc:chgData name="Shahla Bolbolan" userId="4e5faef4-051b-4adc-b291-0d435384080a" providerId="ADAL" clId="{3B004E15-A99C-403D-99D8-EDEA5450AD6B}" dt="2024-02-23T21:21:24.438" v="3"/>
        <pc:sldMkLst>
          <pc:docMk/>
          <pc:sldMk cId="195328653" sldId="2147479456"/>
        </pc:sldMkLst>
      </pc:sldChg>
      <pc:sldChg chg="addSp delSp modSp mod">
        <pc:chgData name="Shahla Bolbolan" userId="4e5faef4-051b-4adc-b291-0d435384080a" providerId="ADAL" clId="{3B004E15-A99C-403D-99D8-EDEA5450AD6B}" dt="2024-03-07T21:03:01.597" v="1714" actId="20577"/>
        <pc:sldMkLst>
          <pc:docMk/>
          <pc:sldMk cId="283463880" sldId="2147479465"/>
        </pc:sldMkLst>
        <pc:spChg chg="mod">
          <ac:chgData name="Shahla Bolbolan" userId="4e5faef4-051b-4adc-b291-0d435384080a" providerId="ADAL" clId="{3B004E15-A99C-403D-99D8-EDEA5450AD6B}" dt="2024-02-27T20:22:22.633" v="611" actId="20577"/>
          <ac:spMkLst>
            <pc:docMk/>
            <pc:sldMk cId="283463880" sldId="2147479465"/>
            <ac:spMk id="3" creationId="{C6145EF6-3760-64C2-0384-F9533F7A9648}"/>
          </ac:spMkLst>
        </pc:spChg>
        <pc:graphicFrameChg chg="add del mod modGraphic">
          <ac:chgData name="Shahla Bolbolan" userId="4e5faef4-051b-4adc-b291-0d435384080a" providerId="ADAL" clId="{3B004E15-A99C-403D-99D8-EDEA5450AD6B}" dt="2024-02-26T22:28:47.369" v="49" actId="3680"/>
          <ac:graphicFrameMkLst>
            <pc:docMk/>
            <pc:sldMk cId="283463880" sldId="2147479465"/>
            <ac:graphicFrameMk id="6" creationId="{009D7823-5968-78F6-5278-1D92FAF222E5}"/>
          </ac:graphicFrameMkLst>
        </pc:graphicFrameChg>
        <pc:graphicFrameChg chg="add mod modGraphic">
          <ac:chgData name="Shahla Bolbolan" userId="4e5faef4-051b-4adc-b291-0d435384080a" providerId="ADAL" clId="{3B004E15-A99C-403D-99D8-EDEA5450AD6B}" dt="2024-03-07T21:03:01.597" v="1714" actId="20577"/>
          <ac:graphicFrameMkLst>
            <pc:docMk/>
            <pc:sldMk cId="283463880" sldId="2147479465"/>
            <ac:graphicFrameMk id="7" creationId="{AA31E999-98B8-D9FB-C6BF-4C1931DEE598}"/>
          </ac:graphicFrameMkLst>
        </pc:graphicFrameChg>
      </pc:sldChg>
      <pc:sldChg chg="addSp delSp modSp add mod ord addCm modCm">
        <pc:chgData name="Shahla Bolbolan" userId="4e5faef4-051b-4adc-b291-0d435384080a" providerId="ADAL" clId="{3B004E15-A99C-403D-99D8-EDEA5450AD6B}" dt="2024-03-11T19:19:22.243" v="2037" actId="255"/>
        <pc:sldMkLst>
          <pc:docMk/>
          <pc:sldMk cId="1462714232" sldId="2147479468"/>
        </pc:sldMkLst>
        <pc:spChg chg="mod">
          <ac:chgData name="Shahla Bolbolan" userId="4e5faef4-051b-4adc-b291-0d435384080a" providerId="ADAL" clId="{3B004E15-A99C-403D-99D8-EDEA5450AD6B}" dt="2024-02-26T22:46:58.678" v="480" actId="20577"/>
          <ac:spMkLst>
            <pc:docMk/>
            <pc:sldMk cId="1462714232" sldId="2147479468"/>
            <ac:spMk id="2" creationId="{5354029C-42F0-FEBB-4DA3-93088E7981AE}"/>
          </ac:spMkLst>
        </pc:spChg>
        <pc:spChg chg="mod">
          <ac:chgData name="Shahla Bolbolan" userId="4e5faef4-051b-4adc-b291-0d435384080a" providerId="ADAL" clId="{3B004E15-A99C-403D-99D8-EDEA5450AD6B}" dt="2024-02-26T22:38:05.137" v="349" actId="20577"/>
          <ac:spMkLst>
            <pc:docMk/>
            <pc:sldMk cId="1462714232" sldId="2147479468"/>
            <ac:spMk id="3" creationId="{C6145EF6-3760-64C2-0384-F9533F7A9648}"/>
          </ac:spMkLst>
        </pc:spChg>
        <pc:graphicFrameChg chg="add mod modGraphic">
          <ac:chgData name="Shahla Bolbolan" userId="4e5faef4-051b-4adc-b291-0d435384080a" providerId="ADAL" clId="{3B004E15-A99C-403D-99D8-EDEA5450AD6B}" dt="2024-03-11T19:19:22.243" v="2037" actId="255"/>
          <ac:graphicFrameMkLst>
            <pc:docMk/>
            <pc:sldMk cId="1462714232" sldId="2147479468"/>
            <ac:graphicFrameMk id="6" creationId="{90BBC203-65F3-44F9-F6CD-9B3582C87ECF}"/>
          </ac:graphicFrameMkLst>
        </pc:graphicFrameChg>
        <pc:graphicFrameChg chg="del modGraphic">
          <ac:chgData name="Shahla Bolbolan" userId="4e5faef4-051b-4adc-b291-0d435384080a" providerId="ADAL" clId="{3B004E15-A99C-403D-99D8-EDEA5450AD6B}" dt="2024-02-26T22:32:00.472" v="132" actId="478"/>
          <ac:graphicFrameMkLst>
            <pc:docMk/>
            <pc:sldMk cId="1462714232" sldId="2147479468"/>
            <ac:graphicFrameMk id="7" creationId="{AA31E999-98B8-D9FB-C6BF-4C1931DEE598}"/>
          </ac:graphicFrameMkLst>
        </pc:graphicFrameChg>
      </pc:sldChg>
      <pc:sldChg chg="new del">
        <pc:chgData name="Shahla Bolbolan" userId="4e5faef4-051b-4adc-b291-0d435384080a" providerId="ADAL" clId="{3B004E15-A99C-403D-99D8-EDEA5450AD6B}" dt="2024-02-26T22:30:59.569" v="127" actId="680"/>
        <pc:sldMkLst>
          <pc:docMk/>
          <pc:sldMk cId="2134169709" sldId="2147479468"/>
        </pc:sldMkLst>
      </pc:sldChg>
      <pc:sldChg chg="addSp delSp modSp add mod ord">
        <pc:chgData name="Shahla Bolbolan" userId="4e5faef4-051b-4adc-b291-0d435384080a" providerId="ADAL" clId="{3B004E15-A99C-403D-99D8-EDEA5450AD6B}" dt="2024-02-27T20:22:05.844" v="610" actId="14100"/>
        <pc:sldMkLst>
          <pc:docMk/>
          <pc:sldMk cId="607717304" sldId="2147479469"/>
        </pc:sldMkLst>
        <pc:spChg chg="mod">
          <ac:chgData name="Shahla Bolbolan" userId="4e5faef4-051b-4adc-b291-0d435384080a" providerId="ADAL" clId="{3B004E15-A99C-403D-99D8-EDEA5450AD6B}" dt="2024-02-27T20:22:05.844" v="610" actId="14100"/>
          <ac:spMkLst>
            <pc:docMk/>
            <pc:sldMk cId="607717304" sldId="2147479469"/>
            <ac:spMk id="2" creationId="{5354029C-42F0-FEBB-4DA3-93088E7981AE}"/>
          </ac:spMkLst>
        </pc:spChg>
        <pc:spChg chg="del mod">
          <ac:chgData name="Shahla Bolbolan" userId="4e5faef4-051b-4adc-b291-0d435384080a" providerId="ADAL" clId="{3B004E15-A99C-403D-99D8-EDEA5450AD6B}" dt="2024-02-27T19:50:50.832" v="495"/>
          <ac:spMkLst>
            <pc:docMk/>
            <pc:sldMk cId="607717304" sldId="2147479469"/>
            <ac:spMk id="3" creationId="{C6145EF6-3760-64C2-0384-F9533F7A9648}"/>
          </ac:spMkLst>
        </pc:spChg>
        <pc:spChg chg="add mod">
          <ac:chgData name="Shahla Bolbolan" userId="4e5faef4-051b-4adc-b291-0d435384080a" providerId="ADAL" clId="{3B004E15-A99C-403D-99D8-EDEA5450AD6B}" dt="2024-02-27T19:56:04.005" v="535" actId="14100"/>
          <ac:spMkLst>
            <pc:docMk/>
            <pc:sldMk cId="607717304" sldId="2147479469"/>
            <ac:spMk id="6" creationId="{61494A77-502B-2F29-12AB-13023BC3F975}"/>
          </ac:spMkLst>
        </pc:spChg>
        <pc:spChg chg="add mod">
          <ac:chgData name="Shahla Bolbolan" userId="4e5faef4-051b-4adc-b291-0d435384080a" providerId="ADAL" clId="{3B004E15-A99C-403D-99D8-EDEA5450AD6B}" dt="2024-02-27T19:54:05.816" v="524" actId="14100"/>
          <ac:spMkLst>
            <pc:docMk/>
            <pc:sldMk cId="607717304" sldId="2147479469"/>
            <ac:spMk id="7" creationId="{3529F6E2-762F-B873-CC35-2ED86900F4F2}"/>
          </ac:spMkLst>
        </pc:spChg>
        <pc:spChg chg="add del mod">
          <ac:chgData name="Shahla Bolbolan" userId="4e5faef4-051b-4adc-b291-0d435384080a" providerId="ADAL" clId="{3B004E15-A99C-403D-99D8-EDEA5450AD6B}" dt="2024-02-27T19:55:32.463" v="531" actId="21"/>
          <ac:spMkLst>
            <pc:docMk/>
            <pc:sldMk cId="607717304" sldId="2147479469"/>
            <ac:spMk id="9" creationId="{7560762D-7B40-23BC-F81D-44E655A5839D}"/>
          </ac:spMkLst>
        </pc:spChg>
      </pc:sldChg>
      <pc:sldChg chg="addSp modSp new del mod ord">
        <pc:chgData name="Shahla Bolbolan" userId="4e5faef4-051b-4adc-b291-0d435384080a" providerId="ADAL" clId="{3B004E15-A99C-403D-99D8-EDEA5450AD6B}" dt="2024-02-26T22:44:57.589" v="405" actId="2696"/>
        <pc:sldMkLst>
          <pc:docMk/>
          <pc:sldMk cId="3173779227" sldId="2147479469"/>
        </pc:sldMkLst>
        <pc:picChg chg="add mod">
          <ac:chgData name="Shahla Bolbolan" userId="4e5faef4-051b-4adc-b291-0d435384080a" providerId="ADAL" clId="{3B004E15-A99C-403D-99D8-EDEA5450AD6B}" dt="2024-02-26T22:44:12.055" v="402" actId="14100"/>
          <ac:picMkLst>
            <pc:docMk/>
            <pc:sldMk cId="3173779227" sldId="2147479469"/>
            <ac:picMk id="3" creationId="{6541AE08-3276-AA18-DABB-71EDC2A27984}"/>
          </ac:picMkLst>
        </pc:picChg>
      </pc:sldChg>
      <pc:sldChg chg="add del">
        <pc:chgData name="Shahla Bolbolan" userId="4e5faef4-051b-4adc-b291-0d435384080a" providerId="ADAL" clId="{3B004E15-A99C-403D-99D8-EDEA5450AD6B}" dt="2024-02-27T19:51:03.532" v="497" actId="2696"/>
        <pc:sldMkLst>
          <pc:docMk/>
          <pc:sldMk cId="957080591" sldId="2147479470"/>
        </pc:sldMkLst>
      </pc:sldChg>
      <pc:sldChg chg="modSp add del mod">
        <pc:chgData name="Shahla Bolbolan" userId="4e5faef4-051b-4adc-b291-0d435384080a" providerId="ADAL" clId="{3B004E15-A99C-403D-99D8-EDEA5450AD6B}" dt="2024-02-27T19:50:59.331" v="496" actId="2696"/>
        <pc:sldMkLst>
          <pc:docMk/>
          <pc:sldMk cId="1639256140" sldId="2147479471"/>
        </pc:sldMkLst>
        <pc:spChg chg="mod">
          <ac:chgData name="Shahla Bolbolan" userId="4e5faef4-051b-4adc-b291-0d435384080a" providerId="ADAL" clId="{3B004E15-A99C-403D-99D8-EDEA5450AD6B}" dt="2024-02-27T19:50:34.248" v="494" actId="20577"/>
          <ac:spMkLst>
            <pc:docMk/>
            <pc:sldMk cId="1639256140" sldId="2147479471"/>
            <ac:spMk id="2" creationId="{34DFD4A2-E6AB-49DB-98F5-A35A4BF71327}"/>
          </ac:spMkLst>
        </pc:spChg>
        <pc:spChg chg="mod">
          <ac:chgData name="Shahla Bolbolan" userId="4e5faef4-051b-4adc-b291-0d435384080a" providerId="ADAL" clId="{3B004E15-A99C-403D-99D8-EDEA5450AD6B}" dt="2024-02-27T19:50:28.566" v="484" actId="20577"/>
          <ac:spMkLst>
            <pc:docMk/>
            <pc:sldMk cId="1639256140" sldId="2147479471"/>
            <ac:spMk id="6" creationId="{B8ECAE2A-DE0E-4F84-A178-AC99FA14F57A}"/>
          </ac:spMkLst>
        </pc:spChg>
      </pc:sldChg>
      <pc:sldMasterChg chg="add del addSldLayout delSldLayout">
        <pc:chgData name="Shahla Bolbolan" userId="4e5faef4-051b-4adc-b291-0d435384080a" providerId="ADAL" clId="{3B004E15-A99C-403D-99D8-EDEA5450AD6B}" dt="2024-02-27T19:51:03.532" v="497" actId="2696"/>
        <pc:sldMasterMkLst>
          <pc:docMk/>
          <pc:sldMasterMk cId="4163061855" sldId="2147483648"/>
        </pc:sldMasterMkLst>
        <pc:sldLayoutChg chg="add del">
          <pc:chgData name="Shahla Bolbolan" userId="4e5faef4-051b-4adc-b291-0d435384080a" providerId="ADAL" clId="{3B004E15-A99C-403D-99D8-EDEA5450AD6B}" dt="2024-02-27T19:51:03.532" v="497" actId="2696"/>
          <pc:sldLayoutMkLst>
            <pc:docMk/>
            <pc:sldMasterMk cId="4163061855" sldId="2147483648"/>
            <pc:sldLayoutMk cId="580647779" sldId="2147483684"/>
          </pc:sldLayoutMkLst>
        </pc:sldLayoutChg>
      </pc:sldMasterChg>
      <pc:sldMasterChg chg="delSldLayout">
        <pc:chgData name="Shahla Bolbolan" userId="4e5faef4-051b-4adc-b291-0d435384080a" providerId="ADAL" clId="{3B004E15-A99C-403D-99D8-EDEA5450AD6B}" dt="2024-02-27T19:50:59.331" v="496" actId="2696"/>
        <pc:sldMasterMkLst>
          <pc:docMk/>
          <pc:sldMasterMk cId="3063294840" sldId="2147483858"/>
        </pc:sldMasterMkLst>
        <pc:sldLayoutChg chg="del">
          <pc:chgData name="Shahla Bolbolan" userId="4e5faef4-051b-4adc-b291-0d435384080a" providerId="ADAL" clId="{3B004E15-A99C-403D-99D8-EDEA5450AD6B}" dt="2024-02-27T19:50:59.331" v="496" actId="2696"/>
          <pc:sldLayoutMkLst>
            <pc:docMk/>
            <pc:sldMasterMk cId="3063294840" sldId="2147483858"/>
            <pc:sldLayoutMk cId="1736762100" sldId="2147483969"/>
          </pc:sldLayoutMkLst>
        </pc:sldLayoutChg>
      </pc:sldMasterChg>
    </pc:docChg>
  </pc:docChgLst>
  <pc:docChgLst>
    <pc:chgData name="Caroline Burk (Contractor)" userId="S::caroline.burk@gilead.com::20006c89-9c40-4017-8d9b-277f0f6c6e98" providerId="AD" clId="Web-{BA4296ED-7105-8130-6CA4-A840AAA8A71F}"/>
    <pc:docChg chg="mod modSld">
      <pc:chgData name="Caroline Burk (Contractor)" userId="S::caroline.burk@gilead.com::20006c89-9c40-4017-8d9b-277f0f6c6e98" providerId="AD" clId="Web-{BA4296ED-7105-8130-6CA4-A840AAA8A71F}" dt="2024-05-14T23:44:33.477" v="64"/>
      <pc:docMkLst>
        <pc:docMk/>
      </pc:docMkLst>
      <pc:sldChg chg="addCm">
        <pc:chgData name="Caroline Burk (Contractor)" userId="S::caroline.burk@gilead.com::20006c89-9c40-4017-8d9b-277f0f6c6e98" providerId="AD" clId="Web-{BA4296ED-7105-8130-6CA4-A840AAA8A71F}" dt="2024-05-14T23:14:54.231" v="1"/>
        <pc:sldMkLst>
          <pc:docMk/>
          <pc:sldMk cId="3183540392" sldId="214747942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Caroline Burk (Contractor)" userId="S::caroline.burk@gilead.com::20006c89-9c40-4017-8d9b-277f0f6c6e98" providerId="AD" clId="Web-{BA4296ED-7105-8130-6CA4-A840AAA8A71F}" dt="2024-05-14T23:14:54.231" v="1"/>
              <pc2:cmMkLst xmlns:pc2="http://schemas.microsoft.com/office/powerpoint/2019/9/main/command">
                <pc:docMk/>
                <pc:sldMk cId="3183540392" sldId="2147479420"/>
                <pc2:cmMk id="{E2A9B973-8013-4B18-8CA8-FE12A92E0AAB}"/>
              </pc2:cmMkLst>
            </pc226:cmChg>
          </p:ext>
        </pc:extLst>
      </pc:sldChg>
      <pc:sldChg chg="addCm">
        <pc:chgData name="Caroline Burk (Contractor)" userId="S::caroline.burk@gilead.com::20006c89-9c40-4017-8d9b-277f0f6c6e98" providerId="AD" clId="Web-{BA4296ED-7105-8130-6CA4-A840AAA8A71F}" dt="2024-05-14T23:44:33.477" v="64"/>
        <pc:sldMkLst>
          <pc:docMk/>
          <pc:sldMk cId="2923371731" sldId="214747947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Caroline Burk (Contractor)" userId="S::caroline.burk@gilead.com::20006c89-9c40-4017-8d9b-277f0f6c6e98" providerId="AD" clId="Web-{BA4296ED-7105-8130-6CA4-A840AAA8A71F}" dt="2024-05-14T23:44:33.477" v="64"/>
              <pc2:cmMkLst xmlns:pc2="http://schemas.microsoft.com/office/powerpoint/2019/9/main/command">
                <pc:docMk/>
                <pc:sldMk cId="2923371731" sldId="2147479473"/>
                <pc2:cmMk id="{A962503A-3585-4481-BE39-3CC1A40F4595}"/>
              </pc2:cmMkLst>
            </pc226:cmChg>
          </p:ext>
        </pc:extLst>
      </pc:sldChg>
      <pc:sldChg chg="modSp addCm">
        <pc:chgData name="Caroline Burk (Contractor)" userId="S::caroline.burk@gilead.com::20006c89-9c40-4017-8d9b-277f0f6c6e98" providerId="AD" clId="Web-{BA4296ED-7105-8130-6CA4-A840AAA8A71F}" dt="2024-05-14T23:43:06.002" v="63"/>
        <pc:sldMkLst>
          <pc:docMk/>
          <pc:sldMk cId="1566014954" sldId="2147479483"/>
        </pc:sldMkLst>
        <pc:graphicFrameChg chg="mod modGraphic">
          <ac:chgData name="Caroline Burk (Contractor)" userId="S::caroline.burk@gilead.com::20006c89-9c40-4017-8d9b-277f0f6c6e98" providerId="AD" clId="Web-{BA4296ED-7105-8130-6CA4-A840AAA8A71F}" dt="2024-05-14T23:42:04.248" v="62"/>
          <ac:graphicFrameMkLst>
            <pc:docMk/>
            <pc:sldMk cId="1566014954" sldId="2147479483"/>
            <ac:graphicFrameMk id="5" creationId="{EDEC6C2B-3D73-4F40-B6D6-979585E393D9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Caroline Burk (Contractor)" userId="S::caroline.burk@gilead.com::20006c89-9c40-4017-8d9b-277f0f6c6e98" providerId="AD" clId="Web-{BA4296ED-7105-8130-6CA4-A840AAA8A71F}" dt="2024-05-14T23:43:06.002" v="63"/>
              <pc2:cmMkLst xmlns:pc2="http://schemas.microsoft.com/office/powerpoint/2019/9/main/command">
                <pc:docMk/>
                <pc:sldMk cId="1566014954" sldId="2147479483"/>
                <pc2:cmMk id="{48DE5595-3CA5-419F-8A9E-515C3C4C2ACD}"/>
              </pc2:cmMkLst>
            </pc226:cmChg>
          </p:ext>
        </pc:extLst>
      </pc:sldChg>
      <pc:sldChg chg="addCm">
        <pc:chgData name="Caroline Burk (Contractor)" userId="S::caroline.burk@gilead.com::20006c89-9c40-4017-8d9b-277f0f6c6e98" providerId="AD" clId="Web-{BA4296ED-7105-8130-6CA4-A840AAA8A71F}" dt="2024-05-14T23:29:58.777" v="2"/>
        <pc:sldMkLst>
          <pc:docMk/>
          <pc:sldMk cId="2853942534" sldId="214748212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Caroline Burk (Contractor)" userId="S::caroline.burk@gilead.com::20006c89-9c40-4017-8d9b-277f0f6c6e98" providerId="AD" clId="Web-{BA4296ED-7105-8130-6CA4-A840AAA8A71F}" dt="2024-05-14T23:29:58.777" v="2"/>
              <pc2:cmMkLst xmlns:pc2="http://schemas.microsoft.com/office/powerpoint/2019/9/main/command">
                <pc:docMk/>
                <pc:sldMk cId="2853942534" sldId="2147482124"/>
                <pc2:cmMk id="{AB2AE9A5-4CC9-4893-A687-2944EBE7C3A7}"/>
              </pc2:cmMkLst>
            </pc226:cmChg>
          </p:ext>
        </pc:extLst>
      </pc:sldChg>
    </pc:docChg>
  </pc:docChgLst>
  <pc:docChgLst>
    <pc:chgData name="Andrew Billin" userId="S::andrew.billin@gilead.com::bb80ba1e-8d55-497c-975f-19bdeb1b6669" providerId="AD" clId="Web-{8E26030C-D0C9-598B-B88A-FCD1EFC6CC74}"/>
    <pc:docChg chg="modSld">
      <pc:chgData name="Andrew Billin" userId="S::andrew.billin@gilead.com::bb80ba1e-8d55-497c-975f-19bdeb1b6669" providerId="AD" clId="Web-{8E26030C-D0C9-598B-B88A-FCD1EFC6CC74}" dt="2024-04-03T22:46:29.359" v="2"/>
      <pc:docMkLst>
        <pc:docMk/>
      </pc:docMkLst>
      <pc:sldChg chg="modSp modCm">
        <pc:chgData name="Andrew Billin" userId="S::andrew.billin@gilead.com::bb80ba1e-8d55-497c-975f-19bdeb1b6669" providerId="AD" clId="Web-{8E26030C-D0C9-598B-B88A-FCD1EFC6CC74}" dt="2024-04-03T22:46:29.359" v="2"/>
        <pc:sldMkLst>
          <pc:docMk/>
          <pc:sldMk cId="2761666500" sldId="2147479478"/>
        </pc:sldMkLst>
        <pc:graphicFrameChg chg="mod modGraphic">
          <ac:chgData name="Andrew Billin" userId="S::andrew.billin@gilead.com::bb80ba1e-8d55-497c-975f-19bdeb1b6669" providerId="AD" clId="Web-{8E26030C-D0C9-598B-B88A-FCD1EFC6CC74}" dt="2024-04-03T22:43:37.010" v="1"/>
          <ac:graphicFrameMkLst>
            <pc:docMk/>
            <pc:sldMk cId="2761666500" sldId="2147479478"/>
            <ac:graphicFrameMk id="3" creationId="{1BB599FD-6071-5C0B-0CCF-0A8634E74972}"/>
          </ac:graphicFrameMkLst>
        </pc:graphicFrameChg>
      </pc:sldChg>
    </pc:docChg>
  </pc:docChgLst>
  <pc:docChgLst>
    <pc:chgData name="Jason Melehani" userId="S::jason.melehani@gilead.com::93603e9a-d746-4d7c-89da-7c5ef8b091f7" providerId="AD" clId="Web-{E1BBB308-4DFE-6EBE-597A-079B23765D3A}"/>
    <pc:docChg chg="modSld">
      <pc:chgData name="Jason Melehani" userId="S::jason.melehani@gilead.com::93603e9a-d746-4d7c-89da-7c5ef8b091f7" providerId="AD" clId="Web-{E1BBB308-4DFE-6EBE-597A-079B23765D3A}" dt="2024-03-20T02:57:20.321" v="22"/>
      <pc:docMkLst>
        <pc:docMk/>
      </pc:docMkLst>
      <pc:sldChg chg="addSp modSp addCm">
        <pc:chgData name="Jason Melehani" userId="S::jason.melehani@gilead.com::93603e9a-d746-4d7c-89da-7c5ef8b091f7" providerId="AD" clId="Web-{E1BBB308-4DFE-6EBE-597A-079B23765D3A}" dt="2024-03-20T02:57:20.321" v="22"/>
        <pc:sldMkLst>
          <pc:docMk/>
          <pc:sldMk cId="1250735742" sldId="2147482140"/>
        </pc:sldMkLst>
        <pc:spChg chg="mod">
          <ac:chgData name="Jason Melehani" userId="S::jason.melehani@gilead.com::93603e9a-d746-4d7c-89da-7c5ef8b091f7" providerId="AD" clId="Web-{E1BBB308-4DFE-6EBE-597A-079B23765D3A}" dt="2024-03-20T02:53:27.666" v="19" actId="1076"/>
          <ac:spMkLst>
            <pc:docMk/>
            <pc:sldMk cId="1250735742" sldId="2147482140"/>
            <ac:spMk id="3" creationId="{84E7990A-45D4-29D5-9849-9E694B358C8B}"/>
          </ac:spMkLst>
        </pc:spChg>
        <pc:graphicFrameChg chg="add">
          <ac:chgData name="Jason Melehani" userId="S::jason.melehani@gilead.com::93603e9a-d746-4d7c-89da-7c5ef8b091f7" providerId="AD" clId="Web-{E1BBB308-4DFE-6EBE-597A-079B23765D3A}" dt="2024-03-20T02:54:59.619" v="20"/>
          <ac:graphicFrameMkLst>
            <pc:docMk/>
            <pc:sldMk cId="1250735742" sldId="2147482140"/>
            <ac:graphicFrameMk id="5" creationId="{91F37556-58DD-6C97-A796-1F5E7CB49954}"/>
          </ac:graphicFrameMkLst>
        </pc:graphicFrameChg>
        <pc:graphicFrameChg chg="add mod">
          <ac:chgData name="Jason Melehani" userId="S::jason.melehani@gilead.com::93603e9a-d746-4d7c-89da-7c5ef8b091f7" providerId="AD" clId="Web-{E1BBB308-4DFE-6EBE-597A-079B23765D3A}" dt="2024-03-20T02:57:19.884" v="21"/>
          <ac:graphicFrameMkLst>
            <pc:docMk/>
            <pc:sldMk cId="1250735742" sldId="2147482140"/>
            <ac:graphicFrameMk id="7" creationId="{24ED0340-052B-09A9-D82A-1FDEE8679F40}"/>
          </ac:graphicFrameMkLst>
        </pc:graphicFrameChg>
      </pc:sldChg>
    </pc:docChg>
  </pc:docChgLst>
  <pc:docChgLst>
    <pc:chgData name="Jason Melehani" userId="S::jason.melehani@gilead.com::93603e9a-d746-4d7c-89da-7c5ef8b091f7" providerId="AD" clId="Web-{534B2E59-1A69-1AAD-1468-222E19FABDAA}"/>
    <pc:docChg chg="modSld">
      <pc:chgData name="Jason Melehani" userId="S::jason.melehani@gilead.com::93603e9a-d746-4d7c-89da-7c5ef8b091f7" providerId="AD" clId="Web-{534B2E59-1A69-1AAD-1468-222E19FABDAA}" dt="2024-03-20T03:18:08.344" v="673" actId="14100"/>
      <pc:docMkLst>
        <pc:docMk/>
      </pc:docMkLst>
      <pc:sldChg chg="addSp delSp modSp delCm">
        <pc:chgData name="Jason Melehani" userId="S::jason.melehani@gilead.com::93603e9a-d746-4d7c-89da-7c5ef8b091f7" providerId="AD" clId="Web-{534B2E59-1A69-1AAD-1468-222E19FABDAA}" dt="2024-03-20T03:18:08.344" v="673" actId="14100"/>
        <pc:sldMkLst>
          <pc:docMk/>
          <pc:sldMk cId="1250735742" sldId="2147482140"/>
        </pc:sldMkLst>
        <pc:spChg chg="mod">
          <ac:chgData name="Jason Melehani" userId="S::jason.melehani@gilead.com::93603e9a-d746-4d7c-89da-7c5ef8b091f7" providerId="AD" clId="Web-{534B2E59-1A69-1AAD-1468-222E19FABDAA}" dt="2024-03-20T03:18:08.344" v="673" actId="14100"/>
          <ac:spMkLst>
            <pc:docMk/>
            <pc:sldMk cId="1250735742" sldId="2147482140"/>
            <ac:spMk id="3" creationId="{84E7990A-45D4-29D5-9849-9E694B358C8B}"/>
          </ac:spMkLst>
        </pc:spChg>
        <pc:graphicFrameChg chg="mod modGraphic">
          <ac:chgData name="Jason Melehani" userId="S::jason.melehani@gilead.com::93603e9a-d746-4d7c-89da-7c5ef8b091f7" providerId="AD" clId="Web-{534B2E59-1A69-1AAD-1468-222E19FABDAA}" dt="2024-03-20T03:18:01.141" v="672"/>
          <ac:graphicFrameMkLst>
            <pc:docMk/>
            <pc:sldMk cId="1250735742" sldId="2147482140"/>
            <ac:graphicFrameMk id="5" creationId="{91F37556-58DD-6C97-A796-1F5E7CB49954}"/>
          </ac:graphicFrameMkLst>
        </pc:graphicFrameChg>
        <pc:graphicFrameChg chg="add mod modGraphic">
          <ac:chgData name="Jason Melehani" userId="S::jason.melehani@gilead.com::93603e9a-d746-4d7c-89da-7c5ef8b091f7" providerId="AD" clId="Web-{534B2E59-1A69-1AAD-1468-222E19FABDAA}" dt="2024-03-20T03:17:35.875" v="667"/>
          <ac:graphicFrameMkLst>
            <pc:docMk/>
            <pc:sldMk cId="1250735742" sldId="2147482140"/>
            <ac:graphicFrameMk id="6" creationId="{9599B004-D8E1-32FA-4DAA-39FA7D214EF2}"/>
          </ac:graphicFrameMkLst>
        </pc:graphicFrameChg>
        <pc:graphicFrameChg chg="del mod modGraphic">
          <ac:chgData name="Jason Melehani" userId="S::jason.melehani@gilead.com::93603e9a-d746-4d7c-89da-7c5ef8b091f7" providerId="AD" clId="Web-{534B2E59-1A69-1AAD-1468-222E19FABDAA}" dt="2024-03-20T03:07:39.157" v="338"/>
          <ac:graphicFrameMkLst>
            <pc:docMk/>
            <pc:sldMk cId="1250735742" sldId="2147482140"/>
            <ac:graphicFrameMk id="7" creationId="{24ED0340-052B-09A9-D82A-1FDEE8679F40}"/>
          </ac:graphicFrameMkLst>
        </pc:graphicFrameChg>
      </pc:sldChg>
    </pc:docChg>
  </pc:docChgLst>
  <pc:docChgLst>
    <pc:chgData name="Marion Tseng (Contractor)" userId="18508eef-9284-4bec-aa8e-3b4d0d543f0c" providerId="ADAL" clId="{CED6D687-9E67-473C-BFAB-2106A47F077E}"/>
    <pc:docChg chg="undo custSel modSld">
      <pc:chgData name="Marion Tseng (Contractor)" userId="18508eef-9284-4bec-aa8e-3b4d0d543f0c" providerId="ADAL" clId="{CED6D687-9E67-473C-BFAB-2106A47F077E}" dt="2024-03-20T02:51:01.903" v="3" actId="20577"/>
      <pc:docMkLst>
        <pc:docMk/>
      </pc:docMkLst>
      <pc:sldChg chg="modSp mod">
        <pc:chgData name="Marion Tseng (Contractor)" userId="18508eef-9284-4bec-aa8e-3b4d0d543f0c" providerId="ADAL" clId="{CED6D687-9E67-473C-BFAB-2106A47F077E}" dt="2024-03-20T02:51:01.903" v="3" actId="20577"/>
        <pc:sldMkLst>
          <pc:docMk/>
          <pc:sldMk cId="2584841147" sldId="2147471742"/>
        </pc:sldMkLst>
        <pc:graphicFrameChg chg="modGraphic">
          <ac:chgData name="Marion Tseng (Contractor)" userId="18508eef-9284-4bec-aa8e-3b4d0d543f0c" providerId="ADAL" clId="{CED6D687-9E67-473C-BFAB-2106A47F077E}" dt="2024-03-20T02:51:01.903" v="3" actId="20577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</pc:docChg>
  </pc:docChgLst>
  <pc:docChgLst>
    <pc:chgData name="Xiaomin Lu" userId="42419631-bd19-4e2d-8d0e-2a49042d0d37" providerId="ADAL" clId="{8C2EFFA7-1237-4F01-A972-E8BC4852791F}"/>
    <pc:docChg chg="undo custSel addSld delSld modSld sldOrd modSection">
      <pc:chgData name="Xiaomin Lu" userId="42419631-bd19-4e2d-8d0e-2a49042d0d37" providerId="ADAL" clId="{8C2EFFA7-1237-4F01-A972-E8BC4852791F}" dt="2024-04-03T16:00:52.291" v="3010"/>
      <pc:docMkLst>
        <pc:docMk/>
      </pc:docMkLst>
      <pc:sldChg chg="addSp delSp modSp add del mod">
        <pc:chgData name="Xiaomin Lu" userId="42419631-bd19-4e2d-8d0e-2a49042d0d37" providerId="ADAL" clId="{8C2EFFA7-1237-4F01-A972-E8BC4852791F}" dt="2024-03-26T04:36:15.177" v="1140" actId="47"/>
        <pc:sldMkLst>
          <pc:docMk/>
          <pc:sldMk cId="2281851129" sldId="12139"/>
        </pc:sldMkLst>
        <pc:spChg chg="mod">
          <ac:chgData name="Xiaomin Lu" userId="42419631-bd19-4e2d-8d0e-2a49042d0d37" providerId="ADAL" clId="{8C2EFFA7-1237-4F01-A972-E8BC4852791F}" dt="2024-03-26T04:31:27.758" v="1116" actId="255"/>
          <ac:spMkLst>
            <pc:docMk/>
            <pc:sldMk cId="2281851129" sldId="12139"/>
            <ac:spMk id="3" creationId="{582FD8CE-1E52-4885-A323-40ACDFB1E75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0" creationId="{4235CDD5-0C82-4FD2-A2ED-EF190AF03BC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1" creationId="{97D7CF44-B5FA-4DF7-9B0B-B33836081D2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5" creationId="{7FD87879-F227-4734-84A8-B7A77A3DDAE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6" creationId="{277AFFEE-4383-48B8-8557-C3760178CA6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9" creationId="{C7E6E3AB-D1D4-416A-A93B-D08548E3D1E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10" creationId="{20CD4C15-85F0-4B6E-89F0-7D7AFA0D668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12" creationId="{1CDCC134-911B-4331-8FD1-C9E1B127C98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13" creationId="{713C5D96-C93B-4D2C-AECF-6F8C45CB435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14" creationId="{2307B403-C824-450D-A7AD-9EEA7AF447D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15" creationId="{40C954CE-F04B-44F7-8A29-3574C3D5706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19" creationId="{AC6CBC08-F61C-469F-98CF-DCC150DC84B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0" creationId="{A21272B8-A9BD-4DF3-A913-48C465BFEC0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1" creationId="{4B673898-37A3-46F3-9146-220AC35FFEC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2" creationId="{FABD1C64-E041-4F11-B419-D11ABF8BC6D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3" creationId="{5E8AA5A4-94ED-462E-AE1C-EC01D0CCD94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4" creationId="{AD9C5BDB-583F-483F-8DB2-AD582AD92AA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5" creationId="{B153AFDE-A3D0-4DF6-8520-377C06FF282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6" creationId="{D840A390-8EEB-4A6B-A97E-891CCFE8266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7" creationId="{42197591-6D5D-4B77-BF1A-E1AAF953335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8" creationId="{D53C06CA-A55E-4504-8208-34CC47F3303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29" creationId="{C7FAC30E-73E9-4969-A66C-1C90B2F422C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0" creationId="{E97D6D7E-F957-4C35-8265-FFDAD1F0D37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1" creationId="{969B1A66-503D-4C4C-9BB3-5FE9BB6867D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2" creationId="{3D748B5D-2D9F-4EB7-A8A1-4227E0BE3B1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3" creationId="{1A34A65E-E432-4E4D-A062-ACDEBF5DC20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4" creationId="{50CDB374-E7ED-4D76-A75A-ED0BF80E28B1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5" creationId="{8582D600-5157-4767-B42B-518006436DF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6" creationId="{584869EB-F3E9-403B-BDCF-B339126681E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7" creationId="{C93032B8-C3BC-4799-BB79-8BB0ECC28A35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8" creationId="{0F4395BF-76DF-4F50-AE63-13726BFBD83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39" creationId="{1DA7EC35-EF8C-43A4-BB1A-584847D2631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0" creationId="{738D4A16-44A2-4187-98F6-E3B86162346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1" creationId="{CE8CCB68-D3CD-499B-B9CF-7B113A70B38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2" creationId="{50C38ED3-B3EB-4055-B4DD-1E94276B184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3" creationId="{801B5233-40F9-43C7-97D0-4508CCC48E3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4" creationId="{57E9652D-E9C5-400B-BE68-3EBE8A82B65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5" creationId="{28195C7C-0052-4B91-9AA7-E32C53337B0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6" creationId="{824A04FA-0CE0-4D31-88AD-76B6A2F25C9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7" creationId="{1A37DEFF-3A18-45EE-A1B8-706D66CB7C85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8" creationId="{2372B052-32B6-47CF-B699-38D9C1930FB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49" creationId="{D7A0F2FA-2113-48DD-BF79-957A57D5B43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0" creationId="{81D74A37-E81D-4DD5-9CDB-2D418CC5816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1" creationId="{D38660B9-497D-40F2-8652-94198EC852F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2" creationId="{03A762E8-7DF0-44B9-BC01-05D81AC5279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3" creationId="{E3AC4F54-7E0B-4617-9576-B222977DEAD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4" creationId="{22A23C17-809F-4A91-B5F9-C323822B2E5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5" creationId="{090C3580-B74E-4244-9A4E-F3A406B9FF0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6" creationId="{DD8A835A-DEA8-44E1-9B88-A4B40D1A007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7" creationId="{B462AC8E-0148-4A35-B1C5-5E702C1E473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8" creationId="{CD58A40C-D990-4E90-A58C-C2CF7034561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59" creationId="{BCF0AD35-8392-4E9E-9C30-9F2CD820770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0" creationId="{3819A8A9-4EC1-4FD5-999B-10C5B8EE87E1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1" creationId="{F9A75886-141C-4512-BAB2-3F4A2C405B0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2" creationId="{CC0387BB-5C5E-481E-8C61-C705B327696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3" creationId="{9910E039-37A9-4290-9931-E328A7F3627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4" creationId="{DF037F98-E1E4-4D05-89CB-0E0A500A115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5" creationId="{F1EF4BF6-0171-4E1F-87A6-E375A93909E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6" creationId="{818E4D15-E6C6-4069-9050-0006886DDD5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7" creationId="{11B4F352-C2E2-455F-AA99-0707D014BF6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8" creationId="{D4BD0BBD-A617-415F-9625-CE42CE779B7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69" creationId="{A739CD47-166A-4B87-9060-2C20187A5EC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0" creationId="{2D354F82-CBC1-4E49-9148-571DFE38DBA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1" creationId="{DB2E1FD4-1837-466D-A0B1-36A111433EF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2" creationId="{F5458ECB-B2D0-4338-A5CB-0F6F6E4C6F8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3" creationId="{D3828D01-4BB2-4517-89C2-73D34886748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4" creationId="{B516900E-E8C3-4216-94B3-3A373B2EBCA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5" creationId="{BA7C0873-4044-49ED-858F-B758EBEE6FE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6" creationId="{D1D3CE5D-D6F4-46A2-9280-67378DECEDA1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7" creationId="{781D2D3F-37E3-4D41-B43A-4C91E68B828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8" creationId="{63BBB16A-B2D4-4D34-9BCD-41C41A8DEBF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79" creationId="{1A99F586-9706-44CA-8835-A5A910957D4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0" creationId="{2ACDE388-AAAE-486A-A499-7800DB9FBE1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1" creationId="{205C6531-A79A-465A-B0D0-B3D4FC3A27F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2" creationId="{1D1932B0-FBD8-4270-BF9A-7B19EC925A6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3" creationId="{215E332E-27DE-4736-AFA6-446C44A2676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4" creationId="{B46D2A89-9E42-4A3C-AAC0-3A3F43FA61E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5" creationId="{81147803-B4C0-4B82-BFE7-83456BC0D7A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6" creationId="{730518B7-4928-4E30-8DCA-45E1C95AF9B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7" creationId="{EBC801F4-6817-45AC-8EB6-C35E564CB17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8" creationId="{57EFDD85-C4D6-48B6-81E3-93DEBA4B29E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89" creationId="{B023B825-BD23-4397-BF87-3E760833A0E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0" creationId="{44A22EC4-797D-42A2-BBE9-9214719C541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1" creationId="{26C76FDD-1436-462F-BB77-03630FA6D48A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2" creationId="{5D8ACBB6-F004-4C60-8C5E-D418594F846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3" creationId="{EBD57423-5756-417B-A429-0832373F662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4" creationId="{84C1D919-0781-4C5E-A7FE-CBB50D7B6E0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5" creationId="{0E1439F2-91D1-437A-B8D5-6275844D057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6" creationId="{3E104E9C-8EA0-4C27-8332-43C4DCAC4AF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7" creationId="{3EB8CE49-54E7-4A9B-8A22-701E6DC3DB7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8" creationId="{E1390212-75CC-48BD-BB87-09CC31F2E92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99" creationId="{4DAFB23D-AEA3-4ABE-851F-7EBA4F51AEF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0" creationId="{72B703F4-AA59-4B03-B3D4-22CA0DE4397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1" creationId="{827AEE06-A9D8-4460-BB5A-6CB131231BA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2" creationId="{4DA84137-5CBD-4177-926A-558E6A3319D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3" creationId="{70DB9B21-08D5-472B-BCFE-239A3FF5F51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4" creationId="{AE382362-6D84-475F-B647-821B3F74FD5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5" creationId="{C1DD4CF8-586C-42C9-B560-3208AE0A3DB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6" creationId="{580AA150-3338-4343-99A1-A9F110B2719A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7" creationId="{4E3CEC9D-EE25-495A-B808-920221E78971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8" creationId="{8CC0C6A2-6734-4890-A787-91E6C2E8E76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09" creationId="{9FDB1B59-C06B-4BD4-B30B-588882F165F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0" creationId="{72B9675B-988B-4379-A7C5-99FFC80596B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1" creationId="{23E10B28-5FAC-460D-AE56-377403CCB39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2" creationId="{3952CF63-30AD-4AFC-879D-F61E5CB6C9B1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3" creationId="{7F452A6B-0E91-4EDD-8791-17F62B83EF5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4" creationId="{FE9AECC0-21A4-489B-8795-F6B35D82AD45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5" creationId="{F4228DF8-6DC4-4E98-83ED-EE9000E7A3B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6" creationId="{93049883-E701-4D7B-AAD1-773A85182195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7" creationId="{ED367ADD-EB9C-4692-93E3-7B33EA7EFBE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8" creationId="{CFC315CC-AF50-4696-8AD9-7E1AB6551EB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19" creationId="{199EA5F7-959C-46FD-AFEF-F410A88D0371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0" creationId="{77693BCF-3700-4C27-9583-31A25E4302A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1" creationId="{16FDA4CE-AD08-4FEB-A038-FFBF3874DAB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2" creationId="{66EAC5CE-F12B-4594-83B1-FEF805128B3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3" creationId="{8EA3DEA7-0847-48B7-9A79-AF84B3BEF82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4" creationId="{96EDA09A-54F7-4A0D-9DDF-78FE6DED395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5" creationId="{CF53E8A8-D986-4456-AF99-CB7EB0D4B5F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6" creationId="{2510F535-9943-4C7A-BB67-5DF7D45F14E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7" creationId="{246BDC64-7117-43A5-96BB-4BA63078081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8" creationId="{9EF8D430-D975-4419-A5D6-19A4DF871E2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29" creationId="{D0D294AC-E31B-49FC-AE57-5C11B93BE43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0" creationId="{3EE48DBE-835D-45AC-B964-C0CAEC4C626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1" creationId="{1FD05D71-6E62-4F76-8E9B-5D31268F398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2" creationId="{F2D98BCB-791E-4E51-91AD-5E05CA270AE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3" creationId="{E59A0A35-0E4B-432D-A921-C5BB3C6DB42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4" creationId="{B20C8AA8-265D-4524-A6C6-8E5AD8C0196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5" creationId="{5545EFCB-EA1A-4239-AA6B-8E411D99C63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6" creationId="{00ED7701-952B-42BA-9A61-AB77F0465B9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7" creationId="{9C49C7F4-810C-415B-82F9-DC8B982771C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8" creationId="{559F0A41-F385-42DB-A380-56316A51AD9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39" creationId="{42EFCE18-7BE1-4929-8ED3-C7DF3A041FA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0" creationId="{049CD527-CB0C-4D13-90B9-666A539625E5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1" creationId="{54CEC314-E870-4C7F-8EBB-0FA1DB73C815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2" creationId="{2F7BF3CE-253C-4593-9C9C-0A371B7ADFC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3" creationId="{C165331A-06DD-46AB-B756-868C3512521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4" creationId="{7FD6C8F9-A582-4737-A227-4334D7EE019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5" creationId="{CCD8CDC3-4AC2-4ADC-A585-D8175308CDA1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6" creationId="{6B7B0D27-B3DB-4F4F-8BA4-8F9751F43D0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7" creationId="{967D3B20-FC1D-4979-A8D7-3F4871A6F7D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8" creationId="{2E4FF707-5E5C-42E1-AFCE-B5ED2F0B99D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49" creationId="{91467BE4-1726-4061-858A-F68D63E14C6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0" creationId="{420A808C-74B1-4E0A-91A1-582C365F47C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1" creationId="{DC9E2F42-141F-42F8-A4D5-B841461F14A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2" creationId="{0167CCC6-305D-4227-BDD5-A2440AACFD7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3" creationId="{2C229143-D67F-4429-A1B7-76CAD501FC3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4" creationId="{F8814F46-ECBC-4425-A6C6-D6739F1EC3F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5" creationId="{6527BF13-DEBE-488A-8105-CA4B46A2672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6" creationId="{8C7E0A15-5D0E-4773-8E59-B2B6A09761A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7" creationId="{C7A7A077-4F88-4EE7-B2A7-1BDBB4D3F06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8" creationId="{E736939B-9610-4816-9B8D-A385B51932D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59" creationId="{F06CD764-E891-4C7E-A1B6-584468FCE2A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60" creationId="{B974CF04-D220-4059-85FE-8E99B91BC06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61" creationId="{FD59C095-0AB8-441A-A827-C4228B007AC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63" creationId="{90263891-029D-43BC-B37F-BC97A6133333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64" creationId="{177AE970-1F23-4581-902F-C982BC22F01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65" creationId="{6A588957-1D8F-40C6-8EB8-07F704D9D12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66" creationId="{0A17BC94-7FB5-4E2F-A555-136012B878E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67" creationId="{AC479D0D-A420-4B7F-AD01-6305CA6E0701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68" creationId="{0E1A034F-0A6E-48EE-A417-66BCCF5FCB5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69" creationId="{E7C04AA7-B81C-446C-80B8-CB296C454DC5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0" creationId="{D973F891-4C92-49E9-81A2-18903000D9E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1" creationId="{D5676444-9220-45FE-B73F-B46E5D1EDA5A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2" creationId="{FC7462DC-E808-4C33-8259-CC8383CA432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3" creationId="{0C3075E6-7EF8-49EF-96CE-47BDD39AD4D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4" creationId="{BA9CBE0F-0A99-4693-8670-9A27168E4A8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5" creationId="{43FDFD78-B7CB-4DCF-8542-C1FD8A9A3E2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6" creationId="{26014732-564F-4228-A715-51BEAA54411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7" creationId="{4AFB109C-7169-4429-B012-3BDA78EC73DD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8" creationId="{2BBDC1A5-AE10-42ED-A476-6DA028B27BB8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79" creationId="{07706E6D-4FC3-4C7E-9A53-F2FC1404C461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80" creationId="{CF59668C-4CCC-4D26-AA22-39B93F377C2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81" creationId="{F340BD1F-D9D9-4666-A565-D2EC2B660B00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82" creationId="{70880541-0F0C-4A33-9059-519E3CA2847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85" creationId="{96C896DF-1150-4295-8596-18E90F97E3A2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86" creationId="{701280E7-1B91-4851-933B-DA3B6BE551E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387" creationId="{0EAA5B82-3135-4C95-B23B-1FE926641A5F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24" creationId="{E9AAD6F6-45F4-4C7B-B8EF-BF1005F981C4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25" creationId="{34738BA8-F9AE-4A96-9BF8-74DC9C6B1B1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26" creationId="{86772CA2-9D93-4D8D-BEC3-2B9F8CDC51CE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27" creationId="{6CF9267F-4B21-4F15-8ED0-CC2FA3190607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29" creationId="{FF4AD28A-496C-4512-9D5A-54833E609B25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30" creationId="{4DE476B8-3EAD-4C78-A51F-7866BBF1CD8C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32" creationId="{F24C7DF6-D9CC-4DC0-AD9B-2665C1D23D0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34" creationId="{D413D5EC-8BEC-4FD0-B6C4-5E8C6FF1CDD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35" creationId="{B2EB51A8-4CCB-4A25-892B-0C35BDE2F666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37" creationId="{4BF41531-1EF3-47E7-BA23-4654F8C92609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48" creationId="{6E1F87F5-1849-4F86-99F9-1A7F2859CD6B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49" creationId="{DB7928BD-89E0-4A2F-9132-1422E33FBC25}"/>
          </ac:spMkLst>
        </pc:spChg>
        <pc:spChg chg="mod">
          <ac:chgData name="Xiaomin Lu" userId="42419631-bd19-4e2d-8d0e-2a49042d0d37" providerId="ADAL" clId="{8C2EFFA7-1237-4F01-A972-E8BC4852791F}" dt="2024-03-26T04:35:58.227" v="1136" actId="14100"/>
          <ac:spMkLst>
            <pc:docMk/>
            <pc:sldMk cId="2281851129" sldId="12139"/>
            <ac:spMk id="2051" creationId="{A073C4D7-C40E-40F8-B4D3-B495C175226D}"/>
          </ac:spMkLst>
        </pc:spChg>
        <pc:grpChg chg="mod">
          <ac:chgData name="Xiaomin Lu" userId="42419631-bd19-4e2d-8d0e-2a49042d0d37" providerId="ADAL" clId="{8C2EFFA7-1237-4F01-A972-E8BC4852791F}" dt="2024-03-26T04:35:58.227" v="1136" actId="14100"/>
          <ac:grpSpMkLst>
            <pc:docMk/>
            <pc:sldMk cId="2281851129" sldId="12139"/>
            <ac:grpSpMk id="7" creationId="{7AA7735A-63A8-482D-8B0B-AF84E53519C2}"/>
          </ac:grpSpMkLst>
        </pc:grpChg>
        <pc:grpChg chg="mod">
          <ac:chgData name="Xiaomin Lu" userId="42419631-bd19-4e2d-8d0e-2a49042d0d37" providerId="ADAL" clId="{8C2EFFA7-1237-4F01-A972-E8BC4852791F}" dt="2024-03-26T04:35:58.227" v="1136" actId="14100"/>
          <ac:grpSpMkLst>
            <pc:docMk/>
            <pc:sldMk cId="2281851129" sldId="12139"/>
            <ac:grpSpMk id="8" creationId="{CA97450A-36CE-4C1E-864C-1C6426CA4D7A}"/>
          </ac:grpSpMkLst>
        </pc:grpChg>
        <pc:grpChg chg="mod">
          <ac:chgData name="Xiaomin Lu" userId="42419631-bd19-4e2d-8d0e-2a49042d0d37" providerId="ADAL" clId="{8C2EFFA7-1237-4F01-A972-E8BC4852791F}" dt="2024-03-26T04:35:58.227" v="1136" actId="14100"/>
          <ac:grpSpMkLst>
            <pc:docMk/>
            <pc:sldMk cId="2281851129" sldId="12139"/>
            <ac:grpSpMk id="9" creationId="{4311D3F0-EC06-4C0B-B3FA-9977E6E90DB9}"/>
          </ac:grpSpMkLst>
        </pc:grpChg>
        <pc:grpChg chg="mod">
          <ac:chgData name="Xiaomin Lu" userId="42419631-bd19-4e2d-8d0e-2a49042d0d37" providerId="ADAL" clId="{8C2EFFA7-1237-4F01-A972-E8BC4852791F}" dt="2024-03-26T04:35:58.227" v="1136" actId="14100"/>
          <ac:grpSpMkLst>
            <pc:docMk/>
            <pc:sldMk cId="2281851129" sldId="12139"/>
            <ac:grpSpMk id="10" creationId="{2FEAD3BB-7D00-419A-99E4-6B9B6407EB62}"/>
          </ac:grpSpMkLst>
        </pc:grpChg>
        <pc:grpChg chg="mod">
          <ac:chgData name="Xiaomin Lu" userId="42419631-bd19-4e2d-8d0e-2a49042d0d37" providerId="ADAL" clId="{8C2EFFA7-1237-4F01-A972-E8BC4852791F}" dt="2024-03-26T04:35:58.227" v="1136" actId="14100"/>
          <ac:grpSpMkLst>
            <pc:docMk/>
            <pc:sldMk cId="2281851129" sldId="12139"/>
            <ac:grpSpMk id="11" creationId="{D1B42943-C880-47AF-A9A8-A0B2F8FD3303}"/>
          </ac:grpSpMkLst>
        </pc:grpChg>
        <pc:grpChg chg="mod">
          <ac:chgData name="Xiaomin Lu" userId="42419631-bd19-4e2d-8d0e-2a49042d0d37" providerId="ADAL" clId="{8C2EFFA7-1237-4F01-A972-E8BC4852791F}" dt="2024-03-26T04:35:58.227" v="1136" actId="14100"/>
          <ac:grpSpMkLst>
            <pc:docMk/>
            <pc:sldMk cId="2281851129" sldId="12139"/>
            <ac:grpSpMk id="218" creationId="{4605E50F-CEF1-447A-AE90-1B4AFC41E9DB}"/>
          </ac:grpSpMkLst>
        </pc:grpChg>
        <pc:grpChg chg="mod">
          <ac:chgData name="Xiaomin Lu" userId="42419631-bd19-4e2d-8d0e-2a49042d0d37" providerId="ADAL" clId="{8C2EFFA7-1237-4F01-A972-E8BC4852791F}" dt="2024-03-26T04:35:58.227" v="1136" actId="14100"/>
          <ac:grpSpMkLst>
            <pc:docMk/>
            <pc:sldMk cId="2281851129" sldId="12139"/>
            <ac:grpSpMk id="362" creationId="{BF5F9777-076E-4763-A98A-3A0C19FFE3A2}"/>
          </ac:grpSpMkLst>
        </pc:grpChg>
        <pc:cxnChg chg="mod">
          <ac:chgData name="Xiaomin Lu" userId="42419631-bd19-4e2d-8d0e-2a49042d0d37" providerId="ADAL" clId="{8C2EFFA7-1237-4F01-A972-E8BC4852791F}" dt="2024-03-26T04:35:58.227" v="1136" actId="14100"/>
          <ac:cxnSpMkLst>
            <pc:docMk/>
            <pc:sldMk cId="2281851129" sldId="12139"/>
            <ac:cxnSpMk id="216" creationId="{6DC3D301-2CCC-4AC2-8EA5-CE89C815909D}"/>
          </ac:cxnSpMkLst>
        </pc:cxnChg>
        <pc:cxnChg chg="add del">
          <ac:chgData name="Xiaomin Lu" userId="42419631-bd19-4e2d-8d0e-2a49042d0d37" providerId="ADAL" clId="{8C2EFFA7-1237-4F01-A972-E8BC4852791F}" dt="2024-03-26T04:36:00.009" v="1138" actId="478"/>
          <ac:cxnSpMkLst>
            <pc:docMk/>
            <pc:sldMk cId="2281851129" sldId="12139"/>
            <ac:cxnSpMk id="5416" creationId="{84DA1E9D-2BE4-4D7B-83FE-38356D13E695}"/>
          </ac:cxnSpMkLst>
        </pc:cxnChg>
        <pc:cxnChg chg="add del mod">
          <ac:chgData name="Xiaomin Lu" userId="42419631-bd19-4e2d-8d0e-2a49042d0d37" providerId="ADAL" clId="{8C2EFFA7-1237-4F01-A972-E8BC4852791F}" dt="2024-03-26T04:35:59.509" v="1137" actId="1035"/>
          <ac:cxnSpMkLst>
            <pc:docMk/>
            <pc:sldMk cId="2281851129" sldId="12139"/>
            <ac:cxnSpMk id="5417" creationId="{B572D71C-C7A9-4BDE-8B07-DE8AC1368469}"/>
          </ac:cxnSpMkLst>
        </pc:cxnChg>
        <pc:cxnChg chg="mod">
          <ac:chgData name="Xiaomin Lu" userId="42419631-bd19-4e2d-8d0e-2a49042d0d37" providerId="ADAL" clId="{8C2EFFA7-1237-4F01-A972-E8BC4852791F}" dt="2024-03-26T04:35:58.227" v="1136" actId="14100"/>
          <ac:cxnSpMkLst>
            <pc:docMk/>
            <pc:sldMk cId="2281851129" sldId="12139"/>
            <ac:cxnSpMk id="5429" creationId="{037E6D2F-79B5-4C80-94C8-3F65FFEAC5CF}"/>
          </ac:cxnSpMkLst>
        </pc:cxnChg>
        <pc:cxnChg chg="mod">
          <ac:chgData name="Xiaomin Lu" userId="42419631-bd19-4e2d-8d0e-2a49042d0d37" providerId="ADAL" clId="{8C2EFFA7-1237-4F01-A972-E8BC4852791F}" dt="2024-03-26T04:35:58.227" v="1136" actId="14100"/>
          <ac:cxnSpMkLst>
            <pc:docMk/>
            <pc:sldMk cId="2281851129" sldId="12139"/>
            <ac:cxnSpMk id="5430" creationId="{E6A7FA79-13B5-450E-913A-A497CE9213EC}"/>
          </ac:cxnSpMkLst>
        </pc:cxnChg>
        <pc:cxnChg chg="mod">
          <ac:chgData name="Xiaomin Lu" userId="42419631-bd19-4e2d-8d0e-2a49042d0d37" providerId="ADAL" clId="{8C2EFFA7-1237-4F01-A972-E8BC4852791F}" dt="2024-03-26T04:35:58.227" v="1136" actId="14100"/>
          <ac:cxnSpMkLst>
            <pc:docMk/>
            <pc:sldMk cId="2281851129" sldId="12139"/>
            <ac:cxnSpMk id="5431" creationId="{AF7A2FC1-1F38-479E-B448-86C45BD81782}"/>
          </ac:cxnSpMkLst>
        </pc:cxnChg>
      </pc:sldChg>
      <pc:sldChg chg="modSp mod addCm delCm modCm">
        <pc:chgData name="Xiaomin Lu" userId="42419631-bd19-4e2d-8d0e-2a49042d0d37" providerId="ADAL" clId="{8C2EFFA7-1237-4F01-A972-E8BC4852791F}" dt="2024-03-26T20:23:11.854" v="2797"/>
        <pc:sldMkLst>
          <pc:docMk/>
          <pc:sldMk cId="1086338696" sldId="2146847517"/>
        </pc:sldMkLst>
        <pc:spChg chg="mod">
          <ac:chgData name="Xiaomin Lu" userId="42419631-bd19-4e2d-8d0e-2a49042d0d37" providerId="ADAL" clId="{8C2EFFA7-1237-4F01-A972-E8BC4852791F}" dt="2024-03-26T05:20:41.671" v="1430" actId="1076"/>
          <ac:spMkLst>
            <pc:docMk/>
            <pc:sldMk cId="1086338696" sldId="2146847517"/>
            <ac:spMk id="3" creationId="{00000000-0000-0000-0000-000000000000}"/>
          </ac:spMkLst>
        </pc:spChg>
        <pc:spChg chg="mod">
          <ac:chgData name="Xiaomin Lu" userId="42419631-bd19-4e2d-8d0e-2a49042d0d37" providerId="ADAL" clId="{8C2EFFA7-1237-4F01-A972-E8BC4852791F}" dt="2024-03-26T05:20:59.217" v="1433" actId="1036"/>
          <ac:spMkLst>
            <pc:docMk/>
            <pc:sldMk cId="1086338696" sldId="2146847517"/>
            <ac:spMk id="4" creationId="{1DDEF487-2860-998C-CF23-02CE20D27640}"/>
          </ac:spMkLst>
        </pc:spChg>
        <pc:graphicFrameChg chg="mod modGraphic">
          <ac:chgData name="Xiaomin Lu" userId="42419631-bd19-4e2d-8d0e-2a49042d0d37" providerId="ADAL" clId="{8C2EFFA7-1237-4F01-A972-E8BC4852791F}" dt="2024-03-26T05:20:53.404" v="1431" actId="1076"/>
          <ac:graphicFrameMkLst>
            <pc:docMk/>
            <pc:sldMk cId="1086338696" sldId="2146847517"/>
            <ac:graphicFrameMk id="8" creationId="{CA557B88-FEFB-4458-BF09-8B979BE885DF}"/>
          </ac:graphicFrameMkLst>
        </pc:graphicFrameChg>
      </pc:sldChg>
      <pc:sldChg chg="modSp add del mod modShow modCm">
        <pc:chgData name="Xiaomin Lu" userId="42419631-bd19-4e2d-8d0e-2a49042d0d37" providerId="ADAL" clId="{8C2EFFA7-1237-4F01-A972-E8BC4852791F}" dt="2024-03-26T22:12:10.208" v="2960" actId="20577"/>
        <pc:sldMkLst>
          <pc:docMk/>
          <pc:sldMk cId="4028545561" sldId="2146847861"/>
        </pc:sldMkLst>
        <pc:spChg chg="mod">
          <ac:chgData name="Xiaomin Lu" userId="42419631-bd19-4e2d-8d0e-2a49042d0d37" providerId="ADAL" clId="{8C2EFFA7-1237-4F01-A972-E8BC4852791F}" dt="2024-03-26T21:26:48.325" v="2914" actId="255"/>
          <ac:spMkLst>
            <pc:docMk/>
            <pc:sldMk cId="4028545561" sldId="2146847861"/>
            <ac:spMk id="2" creationId="{00000000-0000-0000-0000-000000000000}"/>
          </ac:spMkLst>
        </pc:spChg>
        <pc:graphicFrameChg chg="mod modGraphic">
          <ac:chgData name="Xiaomin Lu" userId="42419631-bd19-4e2d-8d0e-2a49042d0d37" providerId="ADAL" clId="{8C2EFFA7-1237-4F01-A972-E8BC4852791F}" dt="2024-03-26T22:12:10.208" v="2960" actId="20577"/>
          <ac:graphicFrameMkLst>
            <pc:docMk/>
            <pc:sldMk cId="4028545561" sldId="2146847861"/>
            <ac:graphicFrameMk id="5" creationId="{A393DBB8-2423-4FDF-B05F-690F1B1DE38F}"/>
          </ac:graphicFrameMkLst>
        </pc:graphicFrameChg>
      </pc:sldChg>
      <pc:sldChg chg="modSp add del mod modShow modCm">
        <pc:chgData name="Xiaomin Lu" userId="42419631-bd19-4e2d-8d0e-2a49042d0d37" providerId="ADAL" clId="{8C2EFFA7-1237-4F01-A972-E8BC4852791F}" dt="2024-03-26T22:12:01.145" v="2958" actId="6549"/>
        <pc:sldMkLst>
          <pc:docMk/>
          <pc:sldMk cId="1280071501" sldId="2146847862"/>
        </pc:sldMkLst>
        <pc:spChg chg="mod">
          <ac:chgData name="Xiaomin Lu" userId="42419631-bd19-4e2d-8d0e-2a49042d0d37" providerId="ADAL" clId="{8C2EFFA7-1237-4F01-A972-E8BC4852791F}" dt="2024-03-26T21:26:51.032" v="2915" actId="255"/>
          <ac:spMkLst>
            <pc:docMk/>
            <pc:sldMk cId="1280071501" sldId="2146847862"/>
            <ac:spMk id="2" creationId="{00000000-0000-0000-0000-000000000000}"/>
          </ac:spMkLst>
        </pc:spChg>
        <pc:graphicFrameChg chg="mod modGraphic">
          <ac:chgData name="Xiaomin Lu" userId="42419631-bd19-4e2d-8d0e-2a49042d0d37" providerId="ADAL" clId="{8C2EFFA7-1237-4F01-A972-E8BC4852791F}" dt="2024-03-26T22:12:01.145" v="2958" actId="6549"/>
          <ac:graphicFrameMkLst>
            <pc:docMk/>
            <pc:sldMk cId="1280071501" sldId="2146847862"/>
            <ac:graphicFrameMk id="5" creationId="{A393DBB8-2423-4FDF-B05F-690F1B1DE38F}"/>
          </ac:graphicFrameMkLst>
        </pc:graphicFrameChg>
      </pc:sldChg>
      <pc:sldChg chg="del">
        <pc:chgData name="Xiaomin Lu" userId="42419631-bd19-4e2d-8d0e-2a49042d0d37" providerId="ADAL" clId="{8C2EFFA7-1237-4F01-A972-E8BC4852791F}" dt="2024-03-20T22:47:46.584" v="542" actId="47"/>
        <pc:sldMkLst>
          <pc:docMk/>
          <pc:sldMk cId="1244960780" sldId="2146847867"/>
        </pc:sldMkLst>
      </pc:sldChg>
      <pc:sldChg chg="del">
        <pc:chgData name="Xiaomin Lu" userId="42419631-bd19-4e2d-8d0e-2a49042d0d37" providerId="ADAL" clId="{8C2EFFA7-1237-4F01-A972-E8BC4852791F}" dt="2024-03-20T22:47:47.529" v="543" actId="47"/>
        <pc:sldMkLst>
          <pc:docMk/>
          <pc:sldMk cId="2005136460" sldId="2146847877"/>
        </pc:sldMkLst>
      </pc:sldChg>
      <pc:sldChg chg="modSp add del mod">
        <pc:chgData name="Xiaomin Lu" userId="42419631-bd19-4e2d-8d0e-2a49042d0d37" providerId="ADAL" clId="{8C2EFFA7-1237-4F01-A972-E8BC4852791F}" dt="2024-03-26T05:46:59.676" v="2578" actId="47"/>
        <pc:sldMkLst>
          <pc:docMk/>
          <pc:sldMk cId="849363178" sldId="2146847931"/>
        </pc:sldMkLst>
        <pc:graphicFrameChg chg="mod modGraphic">
          <ac:chgData name="Xiaomin Lu" userId="42419631-bd19-4e2d-8d0e-2a49042d0d37" providerId="ADAL" clId="{8C2EFFA7-1237-4F01-A972-E8BC4852791F}" dt="2024-03-26T05:46:39.359" v="2577"/>
          <ac:graphicFrameMkLst>
            <pc:docMk/>
            <pc:sldMk cId="849363178" sldId="2146847931"/>
            <ac:graphicFrameMk id="26" creationId="{28D70B58-008A-6108-3E7B-379798E411E4}"/>
          </ac:graphicFrameMkLst>
        </pc:graphicFrameChg>
      </pc:sldChg>
      <pc:sldChg chg="addSp delSp modSp mod addCm modCm">
        <pc:chgData name="Xiaomin Lu" userId="42419631-bd19-4e2d-8d0e-2a49042d0d37" providerId="ADAL" clId="{8C2EFFA7-1237-4F01-A972-E8BC4852791F}" dt="2024-03-26T21:47:18.977" v="2930" actId="1076"/>
        <pc:sldMkLst>
          <pc:docMk/>
          <pc:sldMk cId="3998398124" sldId="2146847936"/>
        </pc:sldMkLst>
        <pc:spChg chg="del mod">
          <ac:chgData name="Xiaomin Lu" userId="42419631-bd19-4e2d-8d0e-2a49042d0d37" providerId="ADAL" clId="{8C2EFFA7-1237-4F01-A972-E8BC4852791F}" dt="2024-03-26T05:14:44.868" v="1387" actId="478"/>
          <ac:spMkLst>
            <pc:docMk/>
            <pc:sldMk cId="3998398124" sldId="2146847936"/>
            <ac:spMk id="2" creationId="{00000000-0000-0000-0000-000000000000}"/>
          </ac:spMkLst>
        </pc:spChg>
        <pc:spChg chg="add mod">
          <ac:chgData name="Xiaomin Lu" userId="42419631-bd19-4e2d-8d0e-2a49042d0d37" providerId="ADAL" clId="{8C2EFFA7-1237-4F01-A972-E8BC4852791F}" dt="2024-03-26T21:47:18.977" v="2930" actId="1076"/>
          <ac:spMkLst>
            <pc:docMk/>
            <pc:sldMk cId="3998398124" sldId="2146847936"/>
            <ac:spMk id="5" creationId="{6ADF52A1-DCD6-D6C7-6C30-2067B4984EE7}"/>
          </ac:spMkLst>
        </pc:spChg>
        <pc:spChg chg="add mod">
          <ac:chgData name="Xiaomin Lu" userId="42419631-bd19-4e2d-8d0e-2a49042d0d37" providerId="ADAL" clId="{8C2EFFA7-1237-4F01-A972-E8BC4852791F}" dt="2024-03-26T05:14:47.637" v="1389"/>
          <ac:spMkLst>
            <pc:docMk/>
            <pc:sldMk cId="3998398124" sldId="2146847936"/>
            <ac:spMk id="8" creationId="{7D6E2900-495B-60A6-D2BE-85850D014376}"/>
          </ac:spMkLst>
        </pc:spChg>
        <pc:spChg chg="del mod">
          <ac:chgData name="Xiaomin Lu" userId="42419631-bd19-4e2d-8d0e-2a49042d0d37" providerId="ADAL" clId="{8C2EFFA7-1237-4F01-A972-E8BC4852791F}" dt="2024-03-26T05:08:14.708" v="1334" actId="21"/>
          <ac:spMkLst>
            <pc:docMk/>
            <pc:sldMk cId="3998398124" sldId="2146847936"/>
            <ac:spMk id="9" creationId="{9FB8C2FD-6BA7-D337-7E44-4E1FCA2D8675}"/>
          </ac:spMkLst>
        </pc:spChg>
        <pc:spChg chg="mod topLvl">
          <ac:chgData name="Xiaomin Lu" userId="42419631-bd19-4e2d-8d0e-2a49042d0d37" providerId="ADAL" clId="{8C2EFFA7-1237-4F01-A972-E8BC4852791F}" dt="2024-03-26T05:10:40.152" v="1348" actId="164"/>
          <ac:spMkLst>
            <pc:docMk/>
            <pc:sldMk cId="3998398124" sldId="2146847936"/>
            <ac:spMk id="28" creationId="{69956D4D-C678-2429-0FD2-4E25EBA26E23}"/>
          </ac:spMkLst>
        </pc:spChg>
        <pc:spChg chg="mod topLvl">
          <ac:chgData name="Xiaomin Lu" userId="42419631-bd19-4e2d-8d0e-2a49042d0d37" providerId="ADAL" clId="{8C2EFFA7-1237-4F01-A972-E8BC4852791F}" dt="2024-03-26T05:10:40.152" v="1348" actId="164"/>
          <ac:spMkLst>
            <pc:docMk/>
            <pc:sldMk cId="3998398124" sldId="2146847936"/>
            <ac:spMk id="29" creationId="{79F4E3FC-295E-47DB-10D8-134BB3431F03}"/>
          </ac:spMkLst>
        </pc:spChg>
        <pc:spChg chg="mod topLvl">
          <ac:chgData name="Xiaomin Lu" userId="42419631-bd19-4e2d-8d0e-2a49042d0d37" providerId="ADAL" clId="{8C2EFFA7-1237-4F01-A972-E8BC4852791F}" dt="2024-03-26T05:10:40.152" v="1348" actId="164"/>
          <ac:spMkLst>
            <pc:docMk/>
            <pc:sldMk cId="3998398124" sldId="2146847936"/>
            <ac:spMk id="30" creationId="{A2ABFC14-5EB9-AD3D-B6A0-ECD7168E35CB}"/>
          </ac:spMkLst>
        </pc:spChg>
        <pc:spChg chg="mod topLvl">
          <ac:chgData name="Xiaomin Lu" userId="42419631-bd19-4e2d-8d0e-2a49042d0d37" providerId="ADAL" clId="{8C2EFFA7-1237-4F01-A972-E8BC4852791F}" dt="2024-03-26T05:10:40.152" v="1348" actId="164"/>
          <ac:spMkLst>
            <pc:docMk/>
            <pc:sldMk cId="3998398124" sldId="2146847936"/>
            <ac:spMk id="8288" creationId="{3636D768-F566-D5E8-6846-46F0BE128AB0}"/>
          </ac:spMkLst>
        </pc:spChg>
        <pc:spChg chg="mod topLvl">
          <ac:chgData name="Xiaomin Lu" userId="42419631-bd19-4e2d-8d0e-2a49042d0d37" providerId="ADAL" clId="{8C2EFFA7-1237-4F01-A972-E8BC4852791F}" dt="2024-03-26T05:10:40.152" v="1348" actId="164"/>
          <ac:spMkLst>
            <pc:docMk/>
            <pc:sldMk cId="3998398124" sldId="2146847936"/>
            <ac:spMk id="8295" creationId="{16569185-80D0-B8E0-528A-923A43FCA774}"/>
          </ac:spMkLst>
        </pc:spChg>
        <pc:spChg chg="mod topLvl">
          <ac:chgData name="Xiaomin Lu" userId="42419631-bd19-4e2d-8d0e-2a49042d0d37" providerId="ADAL" clId="{8C2EFFA7-1237-4F01-A972-E8BC4852791F}" dt="2024-03-26T05:10:40.152" v="1348" actId="164"/>
          <ac:spMkLst>
            <pc:docMk/>
            <pc:sldMk cId="3998398124" sldId="2146847936"/>
            <ac:spMk id="8297" creationId="{281989D8-EB80-45FA-8F9D-EE1F5BC5FACB}"/>
          </ac:spMkLst>
        </pc:spChg>
        <pc:spChg chg="mod topLvl">
          <ac:chgData name="Xiaomin Lu" userId="42419631-bd19-4e2d-8d0e-2a49042d0d37" providerId="ADAL" clId="{8C2EFFA7-1237-4F01-A972-E8BC4852791F}" dt="2024-03-26T05:10:40.152" v="1348" actId="164"/>
          <ac:spMkLst>
            <pc:docMk/>
            <pc:sldMk cId="3998398124" sldId="2146847936"/>
            <ac:spMk id="8299" creationId="{49C93348-873C-40D7-9738-3113DBAA1FD3}"/>
          </ac:spMkLst>
        </pc:spChg>
        <pc:spChg chg="del mod topLvl">
          <ac:chgData name="Xiaomin Lu" userId="42419631-bd19-4e2d-8d0e-2a49042d0d37" providerId="ADAL" clId="{8C2EFFA7-1237-4F01-A972-E8BC4852791F}" dt="2024-03-26T05:10:01.391" v="1343" actId="478"/>
          <ac:spMkLst>
            <pc:docMk/>
            <pc:sldMk cId="3998398124" sldId="2146847936"/>
            <ac:spMk id="8304" creationId="{E8B7FA6A-12B3-5A2F-24DB-5FDB7408B4FD}"/>
          </ac:spMkLst>
        </pc:spChg>
        <pc:grpChg chg="del mod">
          <ac:chgData name="Xiaomin Lu" userId="42419631-bd19-4e2d-8d0e-2a49042d0d37" providerId="ADAL" clId="{8C2EFFA7-1237-4F01-A972-E8BC4852791F}" dt="2024-03-26T05:09:57.027" v="1342" actId="165"/>
          <ac:grpSpMkLst>
            <pc:docMk/>
            <pc:sldMk cId="3998398124" sldId="2146847936"/>
            <ac:grpSpMk id="4" creationId="{4EF5E34E-A0DD-9059-5BC6-18546F33BA17}"/>
          </ac:grpSpMkLst>
        </pc:grpChg>
        <pc:grpChg chg="add mod">
          <ac:chgData name="Xiaomin Lu" userId="42419631-bd19-4e2d-8d0e-2a49042d0d37" providerId="ADAL" clId="{8C2EFFA7-1237-4F01-A972-E8BC4852791F}" dt="2024-03-26T05:11:26.239" v="1357" actId="1076"/>
          <ac:grpSpMkLst>
            <pc:docMk/>
            <pc:sldMk cId="3998398124" sldId="2146847936"/>
            <ac:grpSpMk id="7" creationId="{95F08169-ACA1-EACD-BF43-4632202DCDE2}"/>
          </ac:grpSpMkLst>
        </pc:grpChg>
        <pc:grpChg chg="del mod topLvl">
          <ac:chgData name="Xiaomin Lu" userId="42419631-bd19-4e2d-8d0e-2a49042d0d37" providerId="ADAL" clId="{8C2EFFA7-1237-4F01-A972-E8BC4852791F}" dt="2024-03-26T05:10:21.993" v="1346" actId="165"/>
          <ac:grpSpMkLst>
            <pc:docMk/>
            <pc:sldMk cId="3998398124" sldId="2146847936"/>
            <ac:grpSpMk id="27" creationId="{D1554436-4D9C-5F93-6093-95BB99BBEEE4}"/>
          </ac:grpSpMkLst>
        </pc:grpChg>
        <pc:grpChg chg="del">
          <ac:chgData name="Xiaomin Lu" userId="42419631-bd19-4e2d-8d0e-2a49042d0d37" providerId="ADAL" clId="{8C2EFFA7-1237-4F01-A972-E8BC4852791F}" dt="2024-03-26T05:08:14.708" v="1334" actId="21"/>
          <ac:grpSpMkLst>
            <pc:docMk/>
            <pc:sldMk cId="3998398124" sldId="2146847936"/>
            <ac:grpSpMk id="8301" creationId="{AD068E57-2FB5-A320-260D-82D12D45C83E}"/>
          </ac:grpSpMkLst>
        </pc:grpChg>
        <pc:cxnChg chg="mod topLvl">
          <ac:chgData name="Xiaomin Lu" userId="42419631-bd19-4e2d-8d0e-2a49042d0d37" providerId="ADAL" clId="{8C2EFFA7-1237-4F01-A972-E8BC4852791F}" dt="2024-03-26T05:10:40.152" v="1348" actId="164"/>
          <ac:cxnSpMkLst>
            <pc:docMk/>
            <pc:sldMk cId="3998398124" sldId="2146847936"/>
            <ac:cxnSpMk id="31" creationId="{E722A8D7-C5CA-8E91-4C7A-0E1A1E09F5E1}"/>
          </ac:cxnSpMkLst>
        </pc:cxnChg>
        <pc:cxnChg chg="mod topLvl">
          <ac:chgData name="Xiaomin Lu" userId="42419631-bd19-4e2d-8d0e-2a49042d0d37" providerId="ADAL" clId="{8C2EFFA7-1237-4F01-A972-E8BC4852791F}" dt="2024-03-26T05:10:40.152" v="1348" actId="164"/>
          <ac:cxnSpMkLst>
            <pc:docMk/>
            <pc:sldMk cId="3998398124" sldId="2146847936"/>
            <ac:cxnSpMk id="8290" creationId="{18920EB9-9172-F175-C0AE-D5E58CE82250}"/>
          </ac:cxnSpMkLst>
        </pc:cxnChg>
        <pc:cxnChg chg="mod topLvl">
          <ac:chgData name="Xiaomin Lu" userId="42419631-bd19-4e2d-8d0e-2a49042d0d37" providerId="ADAL" clId="{8C2EFFA7-1237-4F01-A972-E8BC4852791F}" dt="2024-03-26T05:10:40.152" v="1348" actId="164"/>
          <ac:cxnSpMkLst>
            <pc:docMk/>
            <pc:sldMk cId="3998398124" sldId="2146847936"/>
            <ac:cxnSpMk id="8291" creationId="{C9E94715-321E-914F-F1D8-E3B73C513D1B}"/>
          </ac:cxnSpMkLst>
        </pc:cxnChg>
        <pc:cxnChg chg="mod topLvl">
          <ac:chgData name="Xiaomin Lu" userId="42419631-bd19-4e2d-8d0e-2a49042d0d37" providerId="ADAL" clId="{8C2EFFA7-1237-4F01-A972-E8BC4852791F}" dt="2024-03-26T05:10:40.152" v="1348" actId="164"/>
          <ac:cxnSpMkLst>
            <pc:docMk/>
            <pc:sldMk cId="3998398124" sldId="2146847936"/>
            <ac:cxnSpMk id="8292" creationId="{7058AE7A-9E1B-D99C-BB40-9195B9851DAC}"/>
          </ac:cxnSpMkLst>
        </pc:cxnChg>
        <pc:cxnChg chg="mod topLvl">
          <ac:chgData name="Xiaomin Lu" userId="42419631-bd19-4e2d-8d0e-2a49042d0d37" providerId="ADAL" clId="{8C2EFFA7-1237-4F01-A972-E8BC4852791F}" dt="2024-03-26T05:10:40.152" v="1348" actId="164"/>
          <ac:cxnSpMkLst>
            <pc:docMk/>
            <pc:sldMk cId="3998398124" sldId="2146847936"/>
            <ac:cxnSpMk id="8294" creationId="{7EA93AC6-7FDA-16B2-01B3-E06019FB6FD4}"/>
          </ac:cxnSpMkLst>
        </pc:cxnChg>
        <pc:cxnChg chg="mod topLvl">
          <ac:chgData name="Xiaomin Lu" userId="42419631-bd19-4e2d-8d0e-2a49042d0d37" providerId="ADAL" clId="{8C2EFFA7-1237-4F01-A972-E8BC4852791F}" dt="2024-03-26T05:10:40.152" v="1348" actId="164"/>
          <ac:cxnSpMkLst>
            <pc:docMk/>
            <pc:sldMk cId="3998398124" sldId="2146847936"/>
            <ac:cxnSpMk id="8298" creationId="{F92B55CC-FBEA-EBE9-D49C-DD149DBD606A}"/>
          </ac:cxnSpMkLst>
        </pc:cxnChg>
      </pc:sldChg>
      <pc:sldChg chg="modSp mod modCm">
        <pc:chgData name="Xiaomin Lu" userId="42419631-bd19-4e2d-8d0e-2a49042d0d37" providerId="ADAL" clId="{8C2EFFA7-1237-4F01-A972-E8BC4852791F}" dt="2024-03-19T21:58:00.085" v="47"/>
        <pc:sldMkLst>
          <pc:docMk/>
          <pc:sldMk cId="2212317420" sldId="2146847938"/>
        </pc:sldMkLst>
        <pc:spChg chg="mod">
          <ac:chgData name="Xiaomin Lu" userId="42419631-bd19-4e2d-8d0e-2a49042d0d37" providerId="ADAL" clId="{8C2EFFA7-1237-4F01-A972-E8BC4852791F}" dt="2024-03-19T21:56:40.324" v="46" actId="20577"/>
          <ac:spMkLst>
            <pc:docMk/>
            <pc:sldMk cId="2212317420" sldId="2146847938"/>
            <ac:spMk id="4" creationId="{BF5B135B-1B07-5516-1C64-BFB78718F221}"/>
          </ac:spMkLst>
        </pc:spChg>
      </pc:sldChg>
      <pc:sldChg chg="del">
        <pc:chgData name="Xiaomin Lu" userId="42419631-bd19-4e2d-8d0e-2a49042d0d37" providerId="ADAL" clId="{8C2EFFA7-1237-4F01-A972-E8BC4852791F}" dt="2024-03-19T22:28:27.684" v="192" actId="47"/>
        <pc:sldMkLst>
          <pc:docMk/>
          <pc:sldMk cId="3225311753" sldId="2146847941"/>
        </pc:sldMkLst>
      </pc:sldChg>
      <pc:sldChg chg="modSp mod addCm">
        <pc:chgData name="Xiaomin Lu" userId="42419631-bd19-4e2d-8d0e-2a49042d0d37" providerId="ADAL" clId="{8C2EFFA7-1237-4F01-A972-E8BC4852791F}" dt="2024-03-26T22:13:30.366" v="2968" actId="6549"/>
        <pc:sldMkLst>
          <pc:docMk/>
          <pc:sldMk cId="11518599" sldId="2147308834"/>
        </pc:sldMkLst>
        <pc:spChg chg="mod">
          <ac:chgData name="Xiaomin Lu" userId="42419631-bd19-4e2d-8d0e-2a49042d0d37" providerId="ADAL" clId="{8C2EFFA7-1237-4F01-A972-E8BC4852791F}" dt="2024-03-26T05:15:56.229" v="1398" actId="255"/>
          <ac:spMkLst>
            <pc:docMk/>
            <pc:sldMk cId="11518599" sldId="2147308834"/>
            <ac:spMk id="2" creationId="{F6B5C0EB-F413-90EC-C16B-49B252BB0255}"/>
          </ac:spMkLst>
        </pc:spChg>
        <pc:spChg chg="mod">
          <ac:chgData name="Xiaomin Lu" userId="42419631-bd19-4e2d-8d0e-2a49042d0d37" providerId="ADAL" clId="{8C2EFFA7-1237-4F01-A972-E8BC4852791F}" dt="2024-03-26T22:13:30.366" v="2968" actId="6549"/>
          <ac:spMkLst>
            <pc:docMk/>
            <pc:sldMk cId="11518599" sldId="2147308834"/>
            <ac:spMk id="3" creationId="{71B74FEB-1A2D-FF9C-BA35-C7DAD4E39E8F}"/>
          </ac:spMkLst>
        </pc:spChg>
      </pc:sldChg>
      <pc:sldChg chg="addCm">
        <pc:chgData name="Xiaomin Lu" userId="42419631-bd19-4e2d-8d0e-2a49042d0d37" providerId="ADAL" clId="{8C2EFFA7-1237-4F01-A972-E8BC4852791F}" dt="2024-03-19T22:19:17.224" v="143"/>
        <pc:sldMkLst>
          <pc:docMk/>
          <pc:sldMk cId="2584841147" sldId="2147471742"/>
        </pc:sldMkLst>
      </pc:sldChg>
      <pc:sldChg chg="modSp mod">
        <pc:chgData name="Xiaomin Lu" userId="42419631-bd19-4e2d-8d0e-2a49042d0d37" providerId="ADAL" clId="{8C2EFFA7-1237-4F01-A972-E8BC4852791F}" dt="2024-03-26T20:36:55.621" v="2816" actId="255"/>
        <pc:sldMkLst>
          <pc:docMk/>
          <pc:sldMk cId="1267803031" sldId="2147472415"/>
        </pc:sldMkLst>
        <pc:spChg chg="mod">
          <ac:chgData name="Xiaomin Lu" userId="42419631-bd19-4e2d-8d0e-2a49042d0d37" providerId="ADAL" clId="{8C2EFFA7-1237-4F01-A972-E8BC4852791F}" dt="2024-03-26T20:36:55.621" v="2816" actId="255"/>
          <ac:spMkLst>
            <pc:docMk/>
            <pc:sldMk cId="1267803031" sldId="2147472415"/>
            <ac:spMk id="2" creationId="{016F2E9B-B2D2-418E-AAE5-923914D682FE}"/>
          </ac:spMkLst>
        </pc:spChg>
      </pc:sldChg>
      <pc:sldChg chg="modCm">
        <pc:chgData name="Xiaomin Lu" userId="42419631-bd19-4e2d-8d0e-2a49042d0d37" providerId="ADAL" clId="{8C2EFFA7-1237-4F01-A972-E8BC4852791F}" dt="2024-03-25T23:16:32.160" v="1082" actId="2056"/>
        <pc:sldMkLst>
          <pc:docMk/>
          <pc:sldMk cId="3190076938" sldId="2147472670"/>
        </pc:sldMkLst>
      </pc:sldChg>
      <pc:sldChg chg="addCm delCm modCm">
        <pc:chgData name="Xiaomin Lu" userId="42419631-bd19-4e2d-8d0e-2a49042d0d37" providerId="ADAL" clId="{8C2EFFA7-1237-4F01-A972-E8BC4852791F}" dt="2024-03-26T16:46:31.685" v="2711"/>
        <pc:sldMkLst>
          <pc:docMk/>
          <pc:sldMk cId="1242631946" sldId="2147472683"/>
        </pc:sldMkLst>
      </pc:sldChg>
      <pc:sldChg chg="modSp mod addCm">
        <pc:chgData name="Xiaomin Lu" userId="42419631-bd19-4e2d-8d0e-2a49042d0d37" providerId="ADAL" clId="{8C2EFFA7-1237-4F01-A972-E8BC4852791F}" dt="2024-03-19T16:00:16.345" v="15" actId="115"/>
        <pc:sldMkLst>
          <pc:docMk/>
          <pc:sldMk cId="881740034" sldId="2147479353"/>
        </pc:sldMkLst>
        <pc:spChg chg="mod">
          <ac:chgData name="Xiaomin Lu" userId="42419631-bd19-4e2d-8d0e-2a49042d0d37" providerId="ADAL" clId="{8C2EFFA7-1237-4F01-A972-E8BC4852791F}" dt="2024-03-19T16:00:16.345" v="15" actId="115"/>
          <ac:spMkLst>
            <pc:docMk/>
            <pc:sldMk cId="881740034" sldId="2147479353"/>
            <ac:spMk id="3" creationId="{7D836601-6754-9347-8E4F-019A9E8569EC}"/>
          </ac:spMkLst>
        </pc:spChg>
      </pc:sldChg>
      <pc:sldChg chg="modSp mod">
        <pc:chgData name="Xiaomin Lu" userId="42419631-bd19-4e2d-8d0e-2a49042d0d37" providerId="ADAL" clId="{8C2EFFA7-1237-4F01-A972-E8BC4852791F}" dt="2024-03-26T20:37:03.686" v="2817" actId="255"/>
        <pc:sldMkLst>
          <pc:docMk/>
          <pc:sldMk cId="4285167944" sldId="2147479356"/>
        </pc:sldMkLst>
        <pc:spChg chg="mod">
          <ac:chgData name="Xiaomin Lu" userId="42419631-bd19-4e2d-8d0e-2a49042d0d37" providerId="ADAL" clId="{8C2EFFA7-1237-4F01-A972-E8BC4852791F}" dt="2024-03-26T20:37:03.686" v="2817" actId="255"/>
          <ac:spMkLst>
            <pc:docMk/>
            <pc:sldMk cId="4285167944" sldId="2147479356"/>
            <ac:spMk id="2" creationId="{95E0ED3D-8A77-D56E-5B92-F0A442AFF9EB}"/>
          </ac:spMkLst>
        </pc:spChg>
      </pc:sldChg>
      <pc:sldChg chg="addCm modCm">
        <pc:chgData name="Xiaomin Lu" userId="42419631-bd19-4e2d-8d0e-2a49042d0d37" providerId="ADAL" clId="{8C2EFFA7-1237-4F01-A972-E8BC4852791F}" dt="2024-03-26T20:36:33.061" v="2815"/>
        <pc:sldMkLst>
          <pc:docMk/>
          <pc:sldMk cId="846570333" sldId="2147479418"/>
        </pc:sldMkLst>
      </pc:sldChg>
      <pc:sldChg chg="modSp mod addCm">
        <pc:chgData name="Xiaomin Lu" userId="42419631-bd19-4e2d-8d0e-2a49042d0d37" providerId="ADAL" clId="{8C2EFFA7-1237-4F01-A972-E8BC4852791F}" dt="2024-03-21T22:49:06.853" v="1074"/>
        <pc:sldMkLst>
          <pc:docMk/>
          <pc:sldMk cId="3183540392" sldId="2147479420"/>
        </pc:sldMkLst>
        <pc:graphicFrameChg chg="modGraphic">
          <ac:chgData name="Xiaomin Lu" userId="42419631-bd19-4e2d-8d0e-2a49042d0d37" providerId="ADAL" clId="{8C2EFFA7-1237-4F01-A972-E8BC4852791F}" dt="2024-03-21T22:48:53.144" v="1073" actId="20577"/>
          <ac:graphicFrameMkLst>
            <pc:docMk/>
            <pc:sldMk cId="3183540392" sldId="2147479420"/>
            <ac:graphicFrameMk id="42" creationId="{6969D883-7E1C-7CE9-A35B-54977D69C2D6}"/>
          </ac:graphicFrameMkLst>
        </pc:graphicFrameChg>
      </pc:sldChg>
      <pc:sldChg chg="modSp mod">
        <pc:chgData name="Xiaomin Lu" userId="42419631-bd19-4e2d-8d0e-2a49042d0d37" providerId="ADAL" clId="{8C2EFFA7-1237-4F01-A972-E8BC4852791F}" dt="2024-03-26T22:13:48.161" v="2969" actId="255"/>
        <pc:sldMkLst>
          <pc:docMk/>
          <pc:sldMk cId="2778654706" sldId="2147479426"/>
        </pc:sldMkLst>
        <pc:spChg chg="mod">
          <ac:chgData name="Xiaomin Lu" userId="42419631-bd19-4e2d-8d0e-2a49042d0d37" providerId="ADAL" clId="{8C2EFFA7-1237-4F01-A972-E8BC4852791F}" dt="2024-03-26T05:15:21.895" v="1393" actId="255"/>
          <ac:spMkLst>
            <pc:docMk/>
            <pc:sldMk cId="2778654706" sldId="2147479426"/>
            <ac:spMk id="2" creationId="{5354029C-42F0-FEBB-4DA3-93088E7981AE}"/>
          </ac:spMkLst>
        </pc:spChg>
        <pc:spChg chg="mod">
          <ac:chgData name="Xiaomin Lu" userId="42419631-bd19-4e2d-8d0e-2a49042d0d37" providerId="ADAL" clId="{8C2EFFA7-1237-4F01-A972-E8BC4852791F}" dt="2024-03-26T22:13:48.161" v="2969" actId="255"/>
          <ac:spMkLst>
            <pc:docMk/>
            <pc:sldMk cId="2778654706" sldId="2147479426"/>
            <ac:spMk id="3" creationId="{C6145EF6-3760-64C2-0384-F9533F7A9648}"/>
          </ac:spMkLst>
        </pc:spChg>
      </pc:sldChg>
      <pc:sldChg chg="modSp mod addCm delCm modCm">
        <pc:chgData name="Xiaomin Lu" userId="42419631-bd19-4e2d-8d0e-2a49042d0d37" providerId="ADAL" clId="{8C2EFFA7-1237-4F01-A972-E8BC4852791F}" dt="2024-03-26T06:10:30.217" v="2644"/>
        <pc:sldMkLst>
          <pc:docMk/>
          <pc:sldMk cId="3049584673" sldId="2147479431"/>
        </pc:sldMkLst>
        <pc:spChg chg="mod">
          <ac:chgData name="Xiaomin Lu" userId="42419631-bd19-4e2d-8d0e-2a49042d0d37" providerId="ADAL" clId="{8C2EFFA7-1237-4F01-A972-E8BC4852791F}" dt="2024-03-26T05:15:03.932" v="1390" actId="255"/>
          <ac:spMkLst>
            <pc:docMk/>
            <pc:sldMk cId="3049584673" sldId="2147479431"/>
            <ac:spMk id="2" creationId="{5354029C-42F0-FEBB-4DA3-93088E7981AE}"/>
          </ac:spMkLst>
        </pc:spChg>
        <pc:spChg chg="mod">
          <ac:chgData name="Xiaomin Lu" userId="42419631-bd19-4e2d-8d0e-2a49042d0d37" providerId="ADAL" clId="{8C2EFFA7-1237-4F01-A972-E8BC4852791F}" dt="2024-03-26T06:10:03.552" v="2642"/>
          <ac:spMkLst>
            <pc:docMk/>
            <pc:sldMk cId="3049584673" sldId="2147479431"/>
            <ac:spMk id="3" creationId="{C6145EF6-3760-64C2-0384-F9533F7A9648}"/>
          </ac:spMkLst>
        </pc:spChg>
      </pc:sldChg>
      <pc:sldChg chg="addSp delSp modSp mod ord">
        <pc:chgData name="Xiaomin Lu" userId="42419631-bd19-4e2d-8d0e-2a49042d0d37" providerId="ADAL" clId="{8C2EFFA7-1237-4F01-A972-E8BC4852791F}" dt="2024-03-26T20:37:47.790" v="2825" actId="255"/>
        <pc:sldMkLst>
          <pc:docMk/>
          <pc:sldMk cId="1179079080" sldId="2147479436"/>
        </pc:sldMkLst>
        <pc:spChg chg="add del">
          <ac:chgData name="Xiaomin Lu" userId="42419631-bd19-4e2d-8d0e-2a49042d0d37" providerId="ADAL" clId="{8C2EFFA7-1237-4F01-A972-E8BC4852791F}" dt="2024-03-26T20:37:35.976" v="2822" actId="478"/>
          <ac:spMkLst>
            <pc:docMk/>
            <pc:sldMk cId="1179079080" sldId="2147479436"/>
            <ac:spMk id="2" creationId="{00000000-0000-0000-0000-000000000000}"/>
          </ac:spMkLst>
        </pc:spChg>
        <pc:spChg chg="add del mod">
          <ac:chgData name="Xiaomin Lu" userId="42419631-bd19-4e2d-8d0e-2a49042d0d37" providerId="ADAL" clId="{8C2EFFA7-1237-4F01-A972-E8BC4852791F}" dt="2024-03-26T20:37:21.644" v="2819"/>
          <ac:spMkLst>
            <pc:docMk/>
            <pc:sldMk cId="1179079080" sldId="2147479436"/>
            <ac:spMk id="4" creationId="{727B75A2-0547-1163-34F0-154B7B617EC1}"/>
          </ac:spMkLst>
        </pc:spChg>
        <pc:spChg chg="add del mod">
          <ac:chgData name="Xiaomin Lu" userId="42419631-bd19-4e2d-8d0e-2a49042d0d37" providerId="ADAL" clId="{8C2EFFA7-1237-4F01-A972-E8BC4852791F}" dt="2024-03-26T20:37:29.752" v="2821" actId="478"/>
          <ac:spMkLst>
            <pc:docMk/>
            <pc:sldMk cId="1179079080" sldId="2147479436"/>
            <ac:spMk id="5" creationId="{2C040FC6-64E8-2C8A-29CF-A125F7C2B8EA}"/>
          </ac:spMkLst>
        </pc:spChg>
        <pc:spChg chg="add mod">
          <ac:chgData name="Xiaomin Lu" userId="42419631-bd19-4e2d-8d0e-2a49042d0d37" providerId="ADAL" clId="{8C2EFFA7-1237-4F01-A972-E8BC4852791F}" dt="2024-03-26T20:37:47.790" v="2825" actId="255"/>
          <ac:spMkLst>
            <pc:docMk/>
            <pc:sldMk cId="1179079080" sldId="2147479436"/>
            <ac:spMk id="6" creationId="{1F21FC83-BC0A-E3FA-59D7-644ECFE23421}"/>
          </ac:spMkLst>
        </pc:spChg>
        <pc:spChg chg="mod">
          <ac:chgData name="Xiaomin Lu" userId="42419631-bd19-4e2d-8d0e-2a49042d0d37" providerId="ADAL" clId="{8C2EFFA7-1237-4F01-A972-E8BC4852791F}" dt="2024-03-26T06:16:16.721" v="2675"/>
          <ac:spMkLst>
            <pc:docMk/>
            <pc:sldMk cId="1179079080" sldId="2147479436"/>
            <ac:spMk id="10" creationId="{EE4B2726-7A55-917B-C31D-D310D87FB3F4}"/>
          </ac:spMkLst>
        </pc:spChg>
      </pc:sldChg>
      <pc:sldChg chg="del ord">
        <pc:chgData name="Xiaomin Lu" userId="42419631-bd19-4e2d-8d0e-2a49042d0d37" providerId="ADAL" clId="{8C2EFFA7-1237-4F01-A972-E8BC4852791F}" dt="2024-03-20T22:58:55.262" v="585" actId="47"/>
        <pc:sldMkLst>
          <pc:docMk/>
          <pc:sldMk cId="1272362663" sldId="2147479453"/>
        </pc:sldMkLst>
      </pc:sldChg>
      <pc:sldChg chg="del ord">
        <pc:chgData name="Xiaomin Lu" userId="42419631-bd19-4e2d-8d0e-2a49042d0d37" providerId="ADAL" clId="{8C2EFFA7-1237-4F01-A972-E8BC4852791F}" dt="2024-03-20T22:58:55.262" v="585" actId="47"/>
        <pc:sldMkLst>
          <pc:docMk/>
          <pc:sldMk cId="460502222" sldId="2147479454"/>
        </pc:sldMkLst>
      </pc:sldChg>
      <pc:sldChg chg="del">
        <pc:chgData name="Xiaomin Lu" userId="42419631-bd19-4e2d-8d0e-2a49042d0d37" providerId="ADAL" clId="{8C2EFFA7-1237-4F01-A972-E8BC4852791F}" dt="2024-03-20T22:47:48.039" v="544" actId="47"/>
        <pc:sldMkLst>
          <pc:docMk/>
          <pc:sldMk cId="3280797468" sldId="2147479458"/>
        </pc:sldMkLst>
      </pc:sldChg>
      <pc:sldChg chg="del">
        <pc:chgData name="Xiaomin Lu" userId="42419631-bd19-4e2d-8d0e-2a49042d0d37" providerId="ADAL" clId="{8C2EFFA7-1237-4F01-A972-E8BC4852791F}" dt="2024-03-20T22:47:48.471" v="545" actId="47"/>
        <pc:sldMkLst>
          <pc:docMk/>
          <pc:sldMk cId="374093212" sldId="2147479459"/>
        </pc:sldMkLst>
      </pc:sldChg>
      <pc:sldChg chg="add del">
        <pc:chgData name="Xiaomin Lu" userId="42419631-bd19-4e2d-8d0e-2a49042d0d37" providerId="ADAL" clId="{8C2EFFA7-1237-4F01-A972-E8BC4852791F}" dt="2024-03-20T22:47:45.938" v="541" actId="47"/>
        <pc:sldMkLst>
          <pc:docMk/>
          <pc:sldMk cId="1231322948" sldId="2147479461"/>
        </pc:sldMkLst>
      </pc:sldChg>
      <pc:sldChg chg="addCm modCm">
        <pc:chgData name="Xiaomin Lu" userId="42419631-bd19-4e2d-8d0e-2a49042d0d37" providerId="ADAL" clId="{8C2EFFA7-1237-4F01-A972-E8BC4852791F}" dt="2024-03-26T20:25:03.277" v="2799"/>
        <pc:sldMkLst>
          <pc:docMk/>
          <pc:sldMk cId="3151860006" sldId="2147479462"/>
        </pc:sldMkLst>
      </pc:sldChg>
      <pc:sldChg chg="modSp mod">
        <pc:chgData name="Xiaomin Lu" userId="42419631-bd19-4e2d-8d0e-2a49042d0d37" providerId="ADAL" clId="{8C2EFFA7-1237-4F01-A972-E8BC4852791F}" dt="2024-03-26T05:15:40.316" v="1396" actId="255"/>
        <pc:sldMkLst>
          <pc:docMk/>
          <pc:sldMk cId="4270880167" sldId="2147479467"/>
        </pc:sldMkLst>
        <pc:spChg chg="mod">
          <ac:chgData name="Xiaomin Lu" userId="42419631-bd19-4e2d-8d0e-2a49042d0d37" providerId="ADAL" clId="{8C2EFFA7-1237-4F01-A972-E8BC4852791F}" dt="2024-03-26T05:15:40.316" v="1396" actId="255"/>
          <ac:spMkLst>
            <pc:docMk/>
            <pc:sldMk cId="4270880167" sldId="2147479467"/>
            <ac:spMk id="2" creationId="{5354029C-42F0-FEBB-4DA3-93088E7981AE}"/>
          </ac:spMkLst>
        </pc:spChg>
      </pc:sldChg>
      <pc:sldChg chg="add del">
        <pc:chgData name="Xiaomin Lu" userId="42419631-bd19-4e2d-8d0e-2a49042d0d37" providerId="ADAL" clId="{8C2EFFA7-1237-4F01-A972-E8BC4852791F}" dt="2024-03-20T22:47:45.152" v="540" actId="47"/>
        <pc:sldMkLst>
          <pc:docMk/>
          <pc:sldMk cId="1504386407" sldId="2147479472"/>
        </pc:sldMkLst>
      </pc:sldChg>
      <pc:sldChg chg="addSp delSp modSp mod addCm modCm modNotesTx">
        <pc:chgData name="Xiaomin Lu" userId="42419631-bd19-4e2d-8d0e-2a49042d0d37" providerId="ADAL" clId="{8C2EFFA7-1237-4F01-A972-E8BC4852791F}" dt="2024-04-01T23:05:54.346" v="2987" actId="255"/>
        <pc:sldMkLst>
          <pc:docMk/>
          <pc:sldMk cId="2923371731" sldId="2147479473"/>
        </pc:sldMkLst>
        <pc:spChg chg="add mod">
          <ac:chgData name="Xiaomin Lu" userId="42419631-bd19-4e2d-8d0e-2a49042d0d37" providerId="ADAL" clId="{8C2EFFA7-1237-4F01-A972-E8BC4852791F}" dt="2024-03-26T05:41:47.373" v="2544" actId="20577"/>
          <ac:spMkLst>
            <pc:docMk/>
            <pc:sldMk cId="2923371731" sldId="2147479473"/>
            <ac:spMk id="5" creationId="{D44F7D7D-4C1A-CCF5-859A-A3F02C182D9E}"/>
          </ac:spMkLst>
        </pc:spChg>
        <pc:spChg chg="del mod">
          <ac:chgData name="Xiaomin Lu" userId="42419631-bd19-4e2d-8d0e-2a49042d0d37" providerId="ADAL" clId="{8C2EFFA7-1237-4F01-A972-E8BC4852791F}" dt="2024-03-21T22:42:47.237" v="1041" actId="478"/>
          <ac:spMkLst>
            <pc:docMk/>
            <pc:sldMk cId="2923371731" sldId="2147479473"/>
            <ac:spMk id="13" creationId="{8E60B4A9-68A2-4738-AF66-60BB8D70B4DB}"/>
          </ac:spMkLst>
        </pc:spChg>
        <pc:graphicFrameChg chg="mod modGraphic">
          <ac:chgData name="Xiaomin Lu" userId="42419631-bd19-4e2d-8d0e-2a49042d0d37" providerId="ADAL" clId="{8C2EFFA7-1237-4F01-A972-E8BC4852791F}" dt="2024-04-01T23:05:54.346" v="2987" actId="255"/>
          <ac:graphicFrameMkLst>
            <pc:docMk/>
            <pc:sldMk cId="2923371731" sldId="2147479473"/>
            <ac:graphicFrameMk id="12" creationId="{88A3FAB2-4CED-4E52-8A79-C10A74019B65}"/>
          </ac:graphicFrameMkLst>
        </pc:graphicFrameChg>
        <pc:picChg chg="mod">
          <ac:chgData name="Xiaomin Lu" userId="42419631-bd19-4e2d-8d0e-2a49042d0d37" providerId="ADAL" clId="{8C2EFFA7-1237-4F01-A972-E8BC4852791F}" dt="2024-03-26T05:41:06.225" v="2516" actId="1035"/>
          <ac:picMkLst>
            <pc:docMk/>
            <pc:sldMk cId="2923371731" sldId="2147479473"/>
            <ac:picMk id="3" creationId="{245D0A71-65CE-BD19-7270-7393A8A78D07}"/>
          </ac:picMkLst>
        </pc:picChg>
      </pc:sldChg>
      <pc:sldChg chg="modSp mod">
        <pc:chgData name="Xiaomin Lu" userId="42419631-bd19-4e2d-8d0e-2a49042d0d37" providerId="ADAL" clId="{8C2EFFA7-1237-4F01-A972-E8BC4852791F}" dt="2024-03-26T05:43:14.294" v="2563" actId="113"/>
        <pc:sldMkLst>
          <pc:docMk/>
          <pc:sldMk cId="572539407" sldId="2147479474"/>
        </pc:sldMkLst>
        <pc:spChg chg="mod">
          <ac:chgData name="Xiaomin Lu" userId="42419631-bd19-4e2d-8d0e-2a49042d0d37" providerId="ADAL" clId="{8C2EFFA7-1237-4F01-A972-E8BC4852791F}" dt="2024-03-20T22:51:19.824" v="562" actId="20577"/>
          <ac:spMkLst>
            <pc:docMk/>
            <pc:sldMk cId="572539407" sldId="2147479474"/>
            <ac:spMk id="6" creationId="{8E4C750A-72A9-453B-9CF5-BDA102D5BFF4}"/>
          </ac:spMkLst>
        </pc:spChg>
        <pc:spChg chg="mod">
          <ac:chgData name="Xiaomin Lu" userId="42419631-bd19-4e2d-8d0e-2a49042d0d37" providerId="ADAL" clId="{8C2EFFA7-1237-4F01-A972-E8BC4852791F}" dt="2024-03-26T05:43:14.294" v="2563" actId="113"/>
          <ac:spMkLst>
            <pc:docMk/>
            <pc:sldMk cId="572539407" sldId="2147479474"/>
            <ac:spMk id="7" creationId="{FACF4CFD-D4EB-27F5-52A5-ED19E813F4A9}"/>
          </ac:spMkLst>
        </pc:spChg>
        <pc:graphicFrameChg chg="mod modGraphic">
          <ac:chgData name="Xiaomin Lu" userId="42419631-bd19-4e2d-8d0e-2a49042d0d37" providerId="ADAL" clId="{8C2EFFA7-1237-4F01-A972-E8BC4852791F}" dt="2024-03-20T22:51:05.514" v="553" actId="20577"/>
          <ac:graphicFrameMkLst>
            <pc:docMk/>
            <pc:sldMk cId="572539407" sldId="2147479474"/>
            <ac:graphicFrameMk id="8" creationId="{4D16ADB5-A4CB-561D-5D46-29FFDEE8D041}"/>
          </ac:graphicFrameMkLst>
        </pc:graphicFrameChg>
      </pc:sldChg>
      <pc:sldChg chg="addSp delSp modSp mod addCm delCm modCm">
        <pc:chgData name="Xiaomin Lu" userId="42419631-bd19-4e2d-8d0e-2a49042d0d37" providerId="ADAL" clId="{8C2EFFA7-1237-4F01-A972-E8BC4852791F}" dt="2024-03-26T16:58:20.338" v="2790" actId="20577"/>
        <pc:sldMkLst>
          <pc:docMk/>
          <pc:sldMk cId="188725729" sldId="2147479475"/>
        </pc:sldMkLst>
        <pc:spChg chg="mod">
          <ac:chgData name="Xiaomin Lu" userId="42419631-bd19-4e2d-8d0e-2a49042d0d37" providerId="ADAL" clId="{8C2EFFA7-1237-4F01-A972-E8BC4852791F}" dt="2024-03-26T16:58:20.338" v="2790" actId="20577"/>
          <ac:spMkLst>
            <pc:docMk/>
            <pc:sldMk cId="188725729" sldId="2147479475"/>
            <ac:spMk id="13" creationId="{8E60B4A9-68A2-4738-AF66-60BB8D70B4DB}"/>
          </ac:spMkLst>
        </pc:spChg>
        <pc:graphicFrameChg chg="add mod modGraphic">
          <ac:chgData name="Xiaomin Lu" userId="42419631-bd19-4e2d-8d0e-2a49042d0d37" providerId="ADAL" clId="{8C2EFFA7-1237-4F01-A972-E8BC4852791F}" dt="2024-03-26T16:46:29.362" v="2710" actId="20577"/>
          <ac:graphicFrameMkLst>
            <pc:docMk/>
            <pc:sldMk cId="188725729" sldId="2147479475"/>
            <ac:graphicFrameMk id="3" creationId="{720EF5ED-CB03-5780-B34C-F2ADE1A8292B}"/>
          </ac:graphicFrameMkLst>
        </pc:graphicFrameChg>
        <pc:graphicFrameChg chg="del">
          <ac:chgData name="Xiaomin Lu" userId="42419631-bd19-4e2d-8d0e-2a49042d0d37" providerId="ADAL" clId="{8C2EFFA7-1237-4F01-A972-E8BC4852791F}" dt="2024-03-20T21:25:17.495" v="201" actId="478"/>
          <ac:graphicFrameMkLst>
            <pc:docMk/>
            <pc:sldMk cId="188725729" sldId="2147479475"/>
            <ac:graphicFrameMk id="12" creationId="{88A3FAB2-4CED-4E52-8A79-C10A74019B65}"/>
          </ac:graphicFrameMkLst>
        </pc:graphicFrameChg>
      </pc:sldChg>
      <pc:sldChg chg="modSp mod modCm">
        <pc:chgData name="Xiaomin Lu" userId="42419631-bd19-4e2d-8d0e-2a49042d0d37" providerId="ADAL" clId="{8C2EFFA7-1237-4F01-A972-E8BC4852791F}" dt="2024-03-26T06:04:47.949" v="2585" actId="1076"/>
        <pc:sldMkLst>
          <pc:docMk/>
          <pc:sldMk cId="3163595313" sldId="2147479477"/>
        </pc:sldMkLst>
        <pc:spChg chg="mod">
          <ac:chgData name="Xiaomin Lu" userId="42419631-bd19-4e2d-8d0e-2a49042d0d37" providerId="ADAL" clId="{8C2EFFA7-1237-4F01-A972-E8BC4852791F}" dt="2024-03-26T06:04:47.949" v="2585" actId="1076"/>
          <ac:spMkLst>
            <pc:docMk/>
            <pc:sldMk cId="3163595313" sldId="2147479477"/>
            <ac:spMk id="4" creationId="{2402B536-6F4B-0BC0-5718-266C9D08A38C}"/>
          </ac:spMkLst>
        </pc:spChg>
        <pc:graphicFrameChg chg="mod modGraphic">
          <ac:chgData name="Xiaomin Lu" userId="42419631-bd19-4e2d-8d0e-2a49042d0d37" providerId="ADAL" clId="{8C2EFFA7-1237-4F01-A972-E8BC4852791F}" dt="2024-03-20T22:54:38.355" v="581" actId="20577"/>
          <ac:graphicFrameMkLst>
            <pc:docMk/>
            <pc:sldMk cId="3163595313" sldId="2147479477"/>
            <ac:graphicFrameMk id="3" creationId="{1BB599FD-6071-5C0B-0CCF-0A8634E74972}"/>
          </ac:graphicFrameMkLst>
        </pc:graphicFrameChg>
      </pc:sldChg>
      <pc:sldChg chg="modSp mod modCm">
        <pc:chgData name="Xiaomin Lu" userId="42419631-bd19-4e2d-8d0e-2a49042d0d37" providerId="ADAL" clId="{8C2EFFA7-1237-4F01-A972-E8BC4852791F}" dt="2024-04-03T16:00:52.291" v="3010"/>
        <pc:sldMkLst>
          <pc:docMk/>
          <pc:sldMk cId="2761666500" sldId="2147479478"/>
        </pc:sldMkLst>
        <pc:spChg chg="mod">
          <ac:chgData name="Xiaomin Lu" userId="42419631-bd19-4e2d-8d0e-2a49042d0d37" providerId="ADAL" clId="{8C2EFFA7-1237-4F01-A972-E8BC4852791F}" dt="2024-03-26T06:04:39.254" v="2584" actId="1076"/>
          <ac:spMkLst>
            <pc:docMk/>
            <pc:sldMk cId="2761666500" sldId="2147479478"/>
            <ac:spMk id="4" creationId="{2402B536-6F4B-0BC0-5718-266C9D08A38C}"/>
          </ac:spMkLst>
        </pc:spChg>
        <pc:graphicFrameChg chg="mod modGraphic">
          <ac:chgData name="Xiaomin Lu" userId="42419631-bd19-4e2d-8d0e-2a49042d0d37" providerId="ADAL" clId="{8C2EFFA7-1237-4F01-A972-E8BC4852791F}" dt="2024-03-26T06:04:19.588" v="2579" actId="1076"/>
          <ac:graphicFrameMkLst>
            <pc:docMk/>
            <pc:sldMk cId="2761666500" sldId="2147479478"/>
            <ac:graphicFrameMk id="3" creationId="{1BB599FD-6071-5C0B-0CCF-0A8634E74972}"/>
          </ac:graphicFrameMkLst>
        </pc:graphicFrameChg>
      </pc:sldChg>
      <pc:sldChg chg="addCm">
        <pc:chgData name="Xiaomin Lu" userId="42419631-bd19-4e2d-8d0e-2a49042d0d37" providerId="ADAL" clId="{8C2EFFA7-1237-4F01-A972-E8BC4852791F}" dt="2024-03-19T21:49:22.514" v="16"/>
        <pc:sldMkLst>
          <pc:docMk/>
          <pc:sldMk cId="3573287230" sldId="2147479480"/>
        </pc:sldMkLst>
      </pc:sldChg>
      <pc:sldChg chg="modSp mod">
        <pc:chgData name="Xiaomin Lu" userId="42419631-bd19-4e2d-8d0e-2a49042d0d37" providerId="ADAL" clId="{8C2EFFA7-1237-4F01-A972-E8BC4852791F}" dt="2024-03-26T05:15:46.473" v="1397" actId="255"/>
        <pc:sldMkLst>
          <pc:docMk/>
          <pc:sldMk cId="2853942534" sldId="2147482124"/>
        </pc:sldMkLst>
        <pc:spChg chg="mod">
          <ac:chgData name="Xiaomin Lu" userId="42419631-bd19-4e2d-8d0e-2a49042d0d37" providerId="ADAL" clId="{8C2EFFA7-1237-4F01-A972-E8BC4852791F}" dt="2024-03-26T05:15:46.473" v="1397" actId="255"/>
          <ac:spMkLst>
            <pc:docMk/>
            <pc:sldMk cId="2853942534" sldId="2147482124"/>
            <ac:spMk id="2" creationId="{496BD2AF-537F-0863-6B21-C3F347C044D5}"/>
          </ac:spMkLst>
        </pc:spChg>
      </pc:sldChg>
      <pc:sldChg chg="addSp delSp modSp mod modCm">
        <pc:chgData name="Xiaomin Lu" userId="42419631-bd19-4e2d-8d0e-2a49042d0d37" providerId="ADAL" clId="{8C2EFFA7-1237-4F01-A972-E8BC4852791F}" dt="2024-03-26T05:15:29.126" v="1394" actId="255"/>
        <pc:sldMkLst>
          <pc:docMk/>
          <pc:sldMk cId="2962612111" sldId="2147482127"/>
        </pc:sldMkLst>
        <pc:spChg chg="mod">
          <ac:chgData name="Xiaomin Lu" userId="42419631-bd19-4e2d-8d0e-2a49042d0d37" providerId="ADAL" clId="{8C2EFFA7-1237-4F01-A972-E8BC4852791F}" dt="2024-03-26T05:15:29.126" v="1394" actId="255"/>
          <ac:spMkLst>
            <pc:docMk/>
            <pc:sldMk cId="2962612111" sldId="2147482127"/>
            <ac:spMk id="2" creationId="{92A35801-79E8-CD3C-D0DB-8806A4F0534D}"/>
          </ac:spMkLst>
        </pc:spChg>
        <pc:spChg chg="add del mod">
          <ac:chgData name="Xiaomin Lu" userId="42419631-bd19-4e2d-8d0e-2a49042d0d37" providerId="ADAL" clId="{8C2EFFA7-1237-4F01-A972-E8BC4852791F}" dt="2024-03-26T04:28:51.336" v="1112" actId="478"/>
          <ac:spMkLst>
            <pc:docMk/>
            <pc:sldMk cId="2962612111" sldId="2147482127"/>
            <ac:spMk id="6" creationId="{4E83ED68-5723-0CA0-C358-9F106FCFF6E8}"/>
          </ac:spMkLst>
        </pc:spChg>
      </pc:sldChg>
      <pc:sldChg chg="modSp mod">
        <pc:chgData name="Xiaomin Lu" userId="42419631-bd19-4e2d-8d0e-2a49042d0d37" providerId="ADAL" clId="{8C2EFFA7-1237-4F01-A972-E8BC4852791F}" dt="2024-03-26T05:15:16.124" v="1392" actId="255"/>
        <pc:sldMkLst>
          <pc:docMk/>
          <pc:sldMk cId="3407814504" sldId="2147482130"/>
        </pc:sldMkLst>
        <pc:spChg chg="mod">
          <ac:chgData name="Xiaomin Lu" userId="42419631-bd19-4e2d-8d0e-2a49042d0d37" providerId="ADAL" clId="{8C2EFFA7-1237-4F01-A972-E8BC4852791F}" dt="2024-03-26T05:15:16.124" v="1392" actId="255"/>
          <ac:spMkLst>
            <pc:docMk/>
            <pc:sldMk cId="3407814504" sldId="2147482130"/>
            <ac:spMk id="9" creationId="{58C85E7D-509B-FD88-AB7F-74F76DADAC46}"/>
          </ac:spMkLst>
        </pc:spChg>
        <pc:spChg chg="mod">
          <ac:chgData name="Xiaomin Lu" userId="42419631-bd19-4e2d-8d0e-2a49042d0d37" providerId="ADAL" clId="{8C2EFFA7-1237-4F01-A972-E8BC4852791F}" dt="2024-03-26T05:05:40.592" v="1332"/>
          <ac:spMkLst>
            <pc:docMk/>
            <pc:sldMk cId="3407814504" sldId="2147482130"/>
            <ac:spMk id="10" creationId="{EB19EFDB-B495-5E2D-8C0F-A4CD4799D8B2}"/>
          </ac:spMkLst>
        </pc:spChg>
      </pc:sldChg>
      <pc:sldChg chg="modSp mod ord modCm">
        <pc:chgData name="Xiaomin Lu" userId="42419631-bd19-4e2d-8d0e-2a49042d0d37" providerId="ADAL" clId="{8C2EFFA7-1237-4F01-A972-E8BC4852791F}" dt="2024-03-26T22:12:41.166" v="2962"/>
        <pc:sldMkLst>
          <pc:docMk/>
          <pc:sldMk cId="1250735742" sldId="2147482140"/>
        </pc:sldMkLst>
        <pc:spChg chg="mod">
          <ac:chgData name="Xiaomin Lu" userId="42419631-bd19-4e2d-8d0e-2a49042d0d37" providerId="ADAL" clId="{8C2EFFA7-1237-4F01-A972-E8BC4852791F}" dt="2024-03-26T20:40:49.893" v="2841" actId="948"/>
          <ac:spMkLst>
            <pc:docMk/>
            <pc:sldMk cId="1250735742" sldId="2147482140"/>
            <ac:spMk id="3" creationId="{84E7990A-45D4-29D5-9849-9E694B358C8B}"/>
          </ac:spMkLst>
        </pc:spChg>
        <pc:graphicFrameChg chg="mod">
          <ac:chgData name="Xiaomin Lu" userId="42419631-bd19-4e2d-8d0e-2a49042d0d37" providerId="ADAL" clId="{8C2EFFA7-1237-4F01-A972-E8BC4852791F}" dt="2024-03-26T20:41:24.630" v="2851" actId="1035"/>
          <ac:graphicFrameMkLst>
            <pc:docMk/>
            <pc:sldMk cId="1250735742" sldId="2147482140"/>
            <ac:graphicFrameMk id="5" creationId="{91F37556-58DD-6C97-A796-1F5E7CB49954}"/>
          </ac:graphicFrameMkLst>
        </pc:graphicFrameChg>
        <pc:graphicFrameChg chg="mod">
          <ac:chgData name="Xiaomin Lu" userId="42419631-bd19-4e2d-8d0e-2a49042d0d37" providerId="ADAL" clId="{8C2EFFA7-1237-4F01-A972-E8BC4852791F}" dt="2024-03-26T20:41:24.630" v="2851" actId="1035"/>
          <ac:graphicFrameMkLst>
            <pc:docMk/>
            <pc:sldMk cId="1250735742" sldId="2147482140"/>
            <ac:graphicFrameMk id="6" creationId="{9599B004-D8E1-32FA-4DAA-39FA7D214EF2}"/>
          </ac:graphicFrameMkLst>
        </pc:graphicFrameChg>
      </pc:sldChg>
      <pc:sldChg chg="modSp mod">
        <pc:chgData name="Xiaomin Lu" userId="42419631-bd19-4e2d-8d0e-2a49042d0d37" providerId="ADAL" clId="{8C2EFFA7-1237-4F01-A972-E8BC4852791F}" dt="2024-03-26T05:15:33.448" v="1395" actId="255"/>
        <pc:sldMkLst>
          <pc:docMk/>
          <pc:sldMk cId="2807046771" sldId="2147482141"/>
        </pc:sldMkLst>
        <pc:spChg chg="mod">
          <ac:chgData name="Xiaomin Lu" userId="42419631-bd19-4e2d-8d0e-2a49042d0d37" providerId="ADAL" clId="{8C2EFFA7-1237-4F01-A972-E8BC4852791F}" dt="2024-03-26T05:15:33.448" v="1395" actId="255"/>
          <ac:spMkLst>
            <pc:docMk/>
            <pc:sldMk cId="2807046771" sldId="2147482141"/>
            <ac:spMk id="2" creationId="{5354029C-42F0-FEBB-4DA3-93088E7981AE}"/>
          </ac:spMkLst>
        </pc:spChg>
      </pc:sldChg>
      <pc:sldChg chg="modSp mod">
        <pc:chgData name="Xiaomin Lu" userId="42419631-bd19-4e2d-8d0e-2a49042d0d37" providerId="ADAL" clId="{8C2EFFA7-1237-4F01-A972-E8BC4852791F}" dt="2024-03-26T05:16:02.394" v="1399" actId="255"/>
        <pc:sldMkLst>
          <pc:docMk/>
          <pc:sldMk cId="2837651119" sldId="2147482142"/>
        </pc:sldMkLst>
        <pc:spChg chg="mod">
          <ac:chgData name="Xiaomin Lu" userId="42419631-bd19-4e2d-8d0e-2a49042d0d37" providerId="ADAL" clId="{8C2EFFA7-1237-4F01-A972-E8BC4852791F}" dt="2024-03-26T05:16:02.394" v="1399" actId="255"/>
          <ac:spMkLst>
            <pc:docMk/>
            <pc:sldMk cId="2837651119" sldId="2147482142"/>
            <ac:spMk id="2" creationId="{4A3BD200-988D-1CEA-94CB-01D25CE2EF86}"/>
          </ac:spMkLst>
        </pc:spChg>
      </pc:sldChg>
      <pc:sldChg chg="modSp mod ord addCm">
        <pc:chgData name="Xiaomin Lu" userId="42419631-bd19-4e2d-8d0e-2a49042d0d37" providerId="ADAL" clId="{8C2EFFA7-1237-4F01-A972-E8BC4852791F}" dt="2024-03-26T22:12:45.807" v="2965" actId="20578"/>
        <pc:sldMkLst>
          <pc:docMk/>
          <pc:sldMk cId="1685824701" sldId="2147482146"/>
        </pc:sldMkLst>
        <pc:spChg chg="mod">
          <ac:chgData name="Xiaomin Lu" userId="42419631-bd19-4e2d-8d0e-2a49042d0d37" providerId="ADAL" clId="{8C2EFFA7-1237-4F01-A972-E8BC4852791F}" dt="2024-03-26T20:44:02.900" v="2854" actId="255"/>
          <ac:spMkLst>
            <pc:docMk/>
            <pc:sldMk cId="1685824701" sldId="2147482146"/>
            <ac:spMk id="2" creationId="{E795290F-E2FF-2F0A-2B76-A89C8E1431EA}"/>
          </ac:spMkLst>
        </pc:spChg>
        <pc:graphicFrameChg chg="mod modGraphic">
          <ac:chgData name="Xiaomin Lu" userId="42419631-bd19-4e2d-8d0e-2a49042d0d37" providerId="ADAL" clId="{8C2EFFA7-1237-4F01-A972-E8BC4852791F}" dt="2024-03-26T20:38:43.284" v="2828" actId="1076"/>
          <ac:graphicFrameMkLst>
            <pc:docMk/>
            <pc:sldMk cId="1685824701" sldId="2147482146"/>
            <ac:graphicFrameMk id="9" creationId="{E90DF69C-569A-F2F7-4560-5E7E49E2E77B}"/>
          </ac:graphicFrameMkLst>
        </pc:graphicFrameChg>
      </pc:sldChg>
      <pc:sldChg chg="modSp mod addCm">
        <pc:chgData name="Xiaomin Lu" userId="42419631-bd19-4e2d-8d0e-2a49042d0d37" providerId="ADAL" clId="{8C2EFFA7-1237-4F01-A972-E8BC4852791F}" dt="2024-03-26T06:14:46.116" v="2645"/>
        <pc:sldMkLst>
          <pc:docMk/>
          <pc:sldMk cId="3823604198" sldId="2147482147"/>
        </pc:sldMkLst>
        <pc:spChg chg="mod">
          <ac:chgData name="Xiaomin Lu" userId="42419631-bd19-4e2d-8d0e-2a49042d0d37" providerId="ADAL" clId="{8C2EFFA7-1237-4F01-A972-E8BC4852791F}" dt="2024-03-26T05:15:09.133" v="1391" actId="255"/>
          <ac:spMkLst>
            <pc:docMk/>
            <pc:sldMk cId="3823604198" sldId="2147482147"/>
            <ac:spMk id="2" creationId="{92A35801-79E8-CD3C-D0DB-8806A4F0534D}"/>
          </ac:spMkLst>
        </pc:spChg>
      </pc:sldChg>
      <pc:sldChg chg="addSp delSp modSp add mod delCm">
        <pc:chgData name="Xiaomin Lu" userId="42419631-bd19-4e2d-8d0e-2a49042d0d37" providerId="ADAL" clId="{8C2EFFA7-1237-4F01-A972-E8BC4852791F}" dt="2024-03-25T21:54:31.262" v="1080" actId="478"/>
        <pc:sldMkLst>
          <pc:docMk/>
          <pc:sldMk cId="2433446030" sldId="2147482148"/>
        </pc:sldMkLst>
        <pc:spChg chg="del">
          <ac:chgData name="Xiaomin Lu" userId="42419631-bd19-4e2d-8d0e-2a49042d0d37" providerId="ADAL" clId="{8C2EFFA7-1237-4F01-A972-E8BC4852791F}" dt="2024-03-21T22:37:16.232" v="1016" actId="478"/>
          <ac:spMkLst>
            <pc:docMk/>
            <pc:sldMk cId="2433446030" sldId="2147482148"/>
            <ac:spMk id="5" creationId="{50F7BDEC-C309-8446-377D-363E5B294F1F}"/>
          </ac:spMkLst>
        </pc:spChg>
        <pc:spChg chg="add del mod">
          <ac:chgData name="Xiaomin Lu" userId="42419631-bd19-4e2d-8d0e-2a49042d0d37" providerId="ADAL" clId="{8C2EFFA7-1237-4F01-A972-E8BC4852791F}" dt="2024-03-21T22:15:35.258" v="814" actId="478"/>
          <ac:spMkLst>
            <pc:docMk/>
            <pc:sldMk cId="2433446030" sldId="2147482148"/>
            <ac:spMk id="6" creationId="{92CB5BF8-E2C6-5E97-EC4C-3D47E678B46D}"/>
          </ac:spMkLst>
        </pc:spChg>
        <pc:spChg chg="add del mod">
          <ac:chgData name="Xiaomin Lu" userId="42419631-bd19-4e2d-8d0e-2a49042d0d37" providerId="ADAL" clId="{8C2EFFA7-1237-4F01-A972-E8BC4852791F}" dt="2024-03-21T22:15:44.579" v="815" actId="478"/>
          <ac:spMkLst>
            <pc:docMk/>
            <pc:sldMk cId="2433446030" sldId="2147482148"/>
            <ac:spMk id="7" creationId="{00AC9A58-BE50-3A9E-50B7-D88FFB8A5522}"/>
          </ac:spMkLst>
        </pc:spChg>
        <pc:spChg chg="add mod">
          <ac:chgData name="Xiaomin Lu" userId="42419631-bd19-4e2d-8d0e-2a49042d0d37" providerId="ADAL" clId="{8C2EFFA7-1237-4F01-A972-E8BC4852791F}" dt="2024-03-21T22:30:56.368" v="989" actId="14100"/>
          <ac:spMkLst>
            <pc:docMk/>
            <pc:sldMk cId="2433446030" sldId="2147482148"/>
            <ac:spMk id="8" creationId="{8F12C514-1207-0691-263F-F3BC2ACE7F17}"/>
          </ac:spMkLst>
        </pc:spChg>
        <pc:spChg chg="add mod">
          <ac:chgData name="Xiaomin Lu" userId="42419631-bd19-4e2d-8d0e-2a49042d0d37" providerId="ADAL" clId="{8C2EFFA7-1237-4F01-A972-E8BC4852791F}" dt="2024-03-21T22:30:50.246" v="988" actId="14100"/>
          <ac:spMkLst>
            <pc:docMk/>
            <pc:sldMk cId="2433446030" sldId="2147482148"/>
            <ac:spMk id="9" creationId="{F19B51E3-2B1E-E94C-D72A-EF64F0DBCEEE}"/>
          </ac:spMkLst>
        </pc:spChg>
        <pc:spChg chg="add mod">
          <ac:chgData name="Xiaomin Lu" userId="42419631-bd19-4e2d-8d0e-2a49042d0d37" providerId="ADAL" clId="{8C2EFFA7-1237-4F01-A972-E8BC4852791F}" dt="2024-03-21T22:35:25.646" v="1013" actId="1076"/>
          <ac:spMkLst>
            <pc:docMk/>
            <pc:sldMk cId="2433446030" sldId="2147482148"/>
            <ac:spMk id="12" creationId="{2D1AB2D5-1A84-4BFB-EF75-A11A9BF2B138}"/>
          </ac:spMkLst>
        </pc:spChg>
        <pc:spChg chg="add mod">
          <ac:chgData name="Xiaomin Lu" userId="42419631-bd19-4e2d-8d0e-2a49042d0d37" providerId="ADAL" clId="{8C2EFFA7-1237-4F01-A972-E8BC4852791F}" dt="2024-03-21T22:35:22.877" v="1012" actId="1076"/>
          <ac:spMkLst>
            <pc:docMk/>
            <pc:sldMk cId="2433446030" sldId="2147482148"/>
            <ac:spMk id="16" creationId="{7654415D-593C-1CBA-3A27-FC76D747F1B2}"/>
          </ac:spMkLst>
        </pc:spChg>
        <pc:spChg chg="add mod">
          <ac:chgData name="Xiaomin Lu" userId="42419631-bd19-4e2d-8d0e-2a49042d0d37" providerId="ADAL" clId="{8C2EFFA7-1237-4F01-A972-E8BC4852791F}" dt="2024-03-21T22:29:20.638" v="973" actId="20577"/>
          <ac:spMkLst>
            <pc:docMk/>
            <pc:sldMk cId="2433446030" sldId="2147482148"/>
            <ac:spMk id="17" creationId="{83B2A1A6-EB85-8213-E029-E1F710F3C921}"/>
          </ac:spMkLst>
        </pc:spChg>
        <pc:spChg chg="add mod">
          <ac:chgData name="Xiaomin Lu" userId="42419631-bd19-4e2d-8d0e-2a49042d0d37" providerId="ADAL" clId="{8C2EFFA7-1237-4F01-A972-E8BC4852791F}" dt="2024-03-21T22:30:26.571" v="987" actId="6549"/>
          <ac:spMkLst>
            <pc:docMk/>
            <pc:sldMk cId="2433446030" sldId="2147482148"/>
            <ac:spMk id="18" creationId="{EB40EF0C-C2C5-D4B9-524E-BE022100694D}"/>
          </ac:spMkLst>
        </pc:spChg>
        <pc:spChg chg="add mod">
          <ac:chgData name="Xiaomin Lu" userId="42419631-bd19-4e2d-8d0e-2a49042d0d37" providerId="ADAL" clId="{8C2EFFA7-1237-4F01-A972-E8BC4852791F}" dt="2024-03-21T22:27:34.025" v="956" actId="1076"/>
          <ac:spMkLst>
            <pc:docMk/>
            <pc:sldMk cId="2433446030" sldId="2147482148"/>
            <ac:spMk id="21" creationId="{965CC661-CC86-5DCD-EF18-A170D8CB8A15}"/>
          </ac:spMkLst>
        </pc:spChg>
        <pc:spChg chg="add mod">
          <ac:chgData name="Xiaomin Lu" userId="42419631-bd19-4e2d-8d0e-2a49042d0d37" providerId="ADAL" clId="{8C2EFFA7-1237-4F01-A972-E8BC4852791F}" dt="2024-03-21T22:32:40.592" v="996" actId="1076"/>
          <ac:spMkLst>
            <pc:docMk/>
            <pc:sldMk cId="2433446030" sldId="2147482148"/>
            <ac:spMk id="23" creationId="{1F8B8363-C91F-AA36-0933-3A905CAEC5CF}"/>
          </ac:spMkLst>
        </pc:spChg>
        <pc:spChg chg="add del mod">
          <ac:chgData name="Xiaomin Lu" userId="42419631-bd19-4e2d-8d0e-2a49042d0d37" providerId="ADAL" clId="{8C2EFFA7-1237-4F01-A972-E8BC4852791F}" dt="2024-03-21T22:17:28.603" v="834" actId="478"/>
          <ac:spMkLst>
            <pc:docMk/>
            <pc:sldMk cId="2433446030" sldId="2147482148"/>
            <ac:spMk id="25" creationId="{54614042-CFE2-ECCF-525C-8899A22F0C7A}"/>
          </ac:spMkLst>
        </pc:spChg>
        <pc:spChg chg="add del mod">
          <ac:chgData name="Xiaomin Lu" userId="42419631-bd19-4e2d-8d0e-2a49042d0d37" providerId="ADAL" clId="{8C2EFFA7-1237-4F01-A972-E8BC4852791F}" dt="2024-03-21T22:17:34.711" v="837" actId="478"/>
          <ac:spMkLst>
            <pc:docMk/>
            <pc:sldMk cId="2433446030" sldId="2147482148"/>
            <ac:spMk id="8205" creationId="{D565E76E-3775-953A-005C-8E40E3E72A67}"/>
          </ac:spMkLst>
        </pc:spChg>
        <pc:spChg chg="add mod">
          <ac:chgData name="Xiaomin Lu" userId="42419631-bd19-4e2d-8d0e-2a49042d0d37" providerId="ADAL" clId="{8C2EFFA7-1237-4F01-A972-E8BC4852791F}" dt="2024-03-21T22:25:51.601" v="943" actId="1076"/>
          <ac:spMkLst>
            <pc:docMk/>
            <pc:sldMk cId="2433446030" sldId="2147482148"/>
            <ac:spMk id="8210" creationId="{80DFB7F1-1A39-CE68-6033-09C89D40EAA9}"/>
          </ac:spMkLst>
        </pc:spChg>
        <pc:spChg chg="add mod">
          <ac:chgData name="Xiaomin Lu" userId="42419631-bd19-4e2d-8d0e-2a49042d0d37" providerId="ADAL" clId="{8C2EFFA7-1237-4F01-A972-E8BC4852791F}" dt="2024-03-21T22:19:40.377" v="850" actId="1076"/>
          <ac:spMkLst>
            <pc:docMk/>
            <pc:sldMk cId="2433446030" sldId="2147482148"/>
            <ac:spMk id="8213" creationId="{A9B01587-39AD-BE3E-C194-BEAA4416EAD7}"/>
          </ac:spMkLst>
        </pc:spChg>
        <pc:spChg chg="add mod">
          <ac:chgData name="Xiaomin Lu" userId="42419631-bd19-4e2d-8d0e-2a49042d0d37" providerId="ADAL" clId="{8C2EFFA7-1237-4F01-A972-E8BC4852791F}" dt="2024-03-21T22:33:22.067" v="1001" actId="1076"/>
          <ac:spMkLst>
            <pc:docMk/>
            <pc:sldMk cId="2433446030" sldId="2147482148"/>
            <ac:spMk id="8239" creationId="{CA82C06E-5098-680D-211B-FBCEBF597426}"/>
          </ac:spMkLst>
        </pc:spChg>
        <pc:spChg chg="add mod">
          <ac:chgData name="Xiaomin Lu" userId="42419631-bd19-4e2d-8d0e-2a49042d0d37" providerId="ADAL" clId="{8C2EFFA7-1237-4F01-A972-E8BC4852791F}" dt="2024-03-21T22:32:55.444" v="998" actId="1076"/>
          <ac:spMkLst>
            <pc:docMk/>
            <pc:sldMk cId="2433446030" sldId="2147482148"/>
            <ac:spMk id="8240" creationId="{C2F24B67-073D-4EA4-1FE5-01030CF90FEA}"/>
          </ac:spMkLst>
        </pc:spChg>
        <pc:spChg chg="add mod">
          <ac:chgData name="Xiaomin Lu" userId="42419631-bd19-4e2d-8d0e-2a49042d0d37" providerId="ADAL" clId="{8C2EFFA7-1237-4F01-A972-E8BC4852791F}" dt="2024-03-21T22:33:05.124" v="1000" actId="1076"/>
          <ac:spMkLst>
            <pc:docMk/>
            <pc:sldMk cId="2433446030" sldId="2147482148"/>
            <ac:spMk id="8241" creationId="{D640A2A0-C79E-7889-5FFA-E77B5872B3EC}"/>
          </ac:spMkLst>
        </pc:spChg>
        <pc:spChg chg="add mod">
          <ac:chgData name="Xiaomin Lu" userId="42419631-bd19-4e2d-8d0e-2a49042d0d37" providerId="ADAL" clId="{8C2EFFA7-1237-4F01-A972-E8BC4852791F}" dt="2024-03-21T22:33:01.317" v="999" actId="1076"/>
          <ac:spMkLst>
            <pc:docMk/>
            <pc:sldMk cId="2433446030" sldId="2147482148"/>
            <ac:spMk id="8242" creationId="{0A599A9C-996A-C1CB-CEF1-6F42FC70C5C0}"/>
          </ac:spMkLst>
        </pc:spChg>
        <pc:spChg chg="add del mod">
          <ac:chgData name="Xiaomin Lu" userId="42419631-bd19-4e2d-8d0e-2a49042d0d37" providerId="ADAL" clId="{8C2EFFA7-1237-4F01-A972-E8BC4852791F}" dt="2024-03-25T21:54:28.581" v="1079" actId="478"/>
          <ac:spMkLst>
            <pc:docMk/>
            <pc:sldMk cId="2433446030" sldId="2147482148"/>
            <ac:spMk id="8244" creationId="{86C8A8A6-5BED-F37E-B3D9-A9F6E2CF19F6}"/>
          </ac:spMkLst>
        </pc:spChg>
        <pc:spChg chg="add mod">
          <ac:chgData name="Xiaomin Lu" userId="42419631-bd19-4e2d-8d0e-2a49042d0d37" providerId="ADAL" clId="{8C2EFFA7-1237-4F01-A972-E8BC4852791F}" dt="2024-03-21T22:32:21.589" v="993" actId="1076"/>
          <ac:spMkLst>
            <pc:docMk/>
            <pc:sldMk cId="2433446030" sldId="2147482148"/>
            <ac:spMk id="8245" creationId="{AEFEE2D7-317C-E817-E77B-51084EEF7BD0}"/>
          </ac:spMkLst>
        </pc:spChg>
        <pc:spChg chg="add del mod">
          <ac:chgData name="Xiaomin Lu" userId="42419631-bd19-4e2d-8d0e-2a49042d0d37" providerId="ADAL" clId="{8C2EFFA7-1237-4F01-A972-E8BC4852791F}" dt="2024-03-25T21:54:31.262" v="1080" actId="478"/>
          <ac:spMkLst>
            <pc:docMk/>
            <pc:sldMk cId="2433446030" sldId="2147482148"/>
            <ac:spMk id="8246" creationId="{1D71CDE3-52FA-EA8D-8301-2C2CA0CED2FB}"/>
          </ac:spMkLst>
        </pc:spChg>
        <pc:spChg chg="add mod">
          <ac:chgData name="Xiaomin Lu" userId="42419631-bd19-4e2d-8d0e-2a49042d0d37" providerId="ADAL" clId="{8C2EFFA7-1237-4F01-A972-E8BC4852791F}" dt="2024-03-21T22:32:36.868" v="995" actId="1076"/>
          <ac:spMkLst>
            <pc:docMk/>
            <pc:sldMk cId="2433446030" sldId="2147482148"/>
            <ac:spMk id="8247" creationId="{30A9FEA9-9FA4-491C-82A1-EE7AA938D6A7}"/>
          </ac:spMkLst>
        </pc:spChg>
        <pc:spChg chg="add mod">
          <ac:chgData name="Xiaomin Lu" userId="42419631-bd19-4e2d-8d0e-2a49042d0d37" providerId="ADAL" clId="{8C2EFFA7-1237-4F01-A972-E8BC4852791F}" dt="2024-03-21T22:23:27.069" v="921" actId="1076"/>
          <ac:spMkLst>
            <pc:docMk/>
            <pc:sldMk cId="2433446030" sldId="2147482148"/>
            <ac:spMk id="8248" creationId="{C1967561-F47C-80B1-902D-856A74449EDE}"/>
          </ac:spMkLst>
        </pc:spChg>
        <pc:spChg chg="add mod">
          <ac:chgData name="Xiaomin Lu" userId="42419631-bd19-4e2d-8d0e-2a49042d0d37" providerId="ADAL" clId="{8C2EFFA7-1237-4F01-A972-E8BC4852791F}" dt="2024-03-21T22:32:44.132" v="997" actId="1076"/>
          <ac:spMkLst>
            <pc:docMk/>
            <pc:sldMk cId="2433446030" sldId="2147482148"/>
            <ac:spMk id="8254" creationId="{5CE5A77E-F7C4-8CBD-D040-161778A3E2AF}"/>
          </ac:spMkLst>
        </pc:spChg>
        <pc:spChg chg="add del mod">
          <ac:chgData name="Xiaomin Lu" userId="42419631-bd19-4e2d-8d0e-2a49042d0d37" providerId="ADAL" clId="{8C2EFFA7-1237-4F01-A972-E8BC4852791F}" dt="2024-03-21T22:34:58.423" v="1011" actId="478"/>
          <ac:spMkLst>
            <pc:docMk/>
            <pc:sldMk cId="2433446030" sldId="2147482148"/>
            <ac:spMk id="8310" creationId="{3B8B6AF3-EF94-1A90-D9E6-AFEBDF7871AC}"/>
          </ac:spMkLst>
        </pc:spChg>
        <pc:graphicFrameChg chg="del modGraphic">
          <ac:chgData name="Xiaomin Lu" userId="42419631-bd19-4e2d-8d0e-2a49042d0d37" providerId="ADAL" clId="{8C2EFFA7-1237-4F01-A972-E8BC4852791F}" dt="2024-03-21T22:11:03.939" v="785" actId="478"/>
          <ac:graphicFrameMkLst>
            <pc:docMk/>
            <pc:sldMk cId="2433446030" sldId="2147482148"/>
            <ac:graphicFrameMk id="3" creationId="{1BB599FD-6071-5C0B-0CCF-0A8634E74972}"/>
          </ac:graphicFrameMkLst>
        </pc:graphicFrameChg>
        <pc:cxnChg chg="add mod">
          <ac:chgData name="Xiaomin Lu" userId="42419631-bd19-4e2d-8d0e-2a49042d0d37" providerId="ADAL" clId="{8C2EFFA7-1237-4F01-A972-E8BC4852791F}" dt="2024-03-21T22:30:56.368" v="989" actId="14100"/>
          <ac:cxnSpMkLst>
            <pc:docMk/>
            <pc:sldMk cId="2433446030" sldId="2147482148"/>
            <ac:cxnSpMk id="10" creationId="{48DF3C3C-4A2D-E95D-68E3-DC8BD514193C}"/>
          </ac:cxnSpMkLst>
        </pc:cxnChg>
        <pc:cxnChg chg="add mod">
          <ac:chgData name="Xiaomin Lu" userId="42419631-bd19-4e2d-8d0e-2a49042d0d37" providerId="ADAL" clId="{8C2EFFA7-1237-4F01-A972-E8BC4852791F}" dt="2024-03-21T22:35:22.877" v="1012" actId="1076"/>
          <ac:cxnSpMkLst>
            <pc:docMk/>
            <pc:sldMk cId="2433446030" sldId="2147482148"/>
            <ac:cxnSpMk id="11" creationId="{7D7C7EA5-22CA-2338-7F8C-70092ABA2D1E}"/>
          </ac:cxnSpMkLst>
        </pc:cxnChg>
        <pc:cxnChg chg="add mod">
          <ac:chgData name="Xiaomin Lu" userId="42419631-bd19-4e2d-8d0e-2a49042d0d37" providerId="ADAL" clId="{8C2EFFA7-1237-4F01-A972-E8BC4852791F}" dt="2024-03-21T22:35:25.646" v="1013" actId="1076"/>
          <ac:cxnSpMkLst>
            <pc:docMk/>
            <pc:sldMk cId="2433446030" sldId="2147482148"/>
            <ac:cxnSpMk id="13" creationId="{93DDBF01-A74F-A7DD-925B-4910DE785F80}"/>
          </ac:cxnSpMkLst>
        </pc:cxnChg>
        <pc:cxnChg chg="add mod">
          <ac:chgData name="Xiaomin Lu" userId="42419631-bd19-4e2d-8d0e-2a49042d0d37" providerId="ADAL" clId="{8C2EFFA7-1237-4F01-A972-E8BC4852791F}" dt="2024-03-21T22:30:56.368" v="989" actId="14100"/>
          <ac:cxnSpMkLst>
            <pc:docMk/>
            <pc:sldMk cId="2433446030" sldId="2147482148"/>
            <ac:cxnSpMk id="14" creationId="{19EFBBEF-4BBC-629C-C5F6-5BF9E790B505}"/>
          </ac:cxnSpMkLst>
        </pc:cxnChg>
        <pc:cxnChg chg="add mod">
          <ac:chgData name="Xiaomin Lu" userId="42419631-bd19-4e2d-8d0e-2a49042d0d37" providerId="ADAL" clId="{8C2EFFA7-1237-4F01-A972-E8BC4852791F}" dt="2024-03-21T22:30:50.246" v="988" actId="14100"/>
          <ac:cxnSpMkLst>
            <pc:docMk/>
            <pc:sldMk cId="2433446030" sldId="2147482148"/>
            <ac:cxnSpMk id="15" creationId="{6D07561C-BAE2-3071-E01B-0510E5C9E60B}"/>
          </ac:cxnSpMkLst>
        </pc:cxnChg>
        <pc:cxnChg chg="add mod">
          <ac:chgData name="Xiaomin Lu" userId="42419631-bd19-4e2d-8d0e-2a49042d0d37" providerId="ADAL" clId="{8C2EFFA7-1237-4F01-A972-E8BC4852791F}" dt="2024-03-21T22:30:26.571" v="987" actId="6549"/>
          <ac:cxnSpMkLst>
            <pc:docMk/>
            <pc:sldMk cId="2433446030" sldId="2147482148"/>
            <ac:cxnSpMk id="19" creationId="{344552F4-E47F-7C0F-702A-EA179FACB4B9}"/>
          </ac:cxnSpMkLst>
        </pc:cxnChg>
        <pc:cxnChg chg="add mod">
          <ac:chgData name="Xiaomin Lu" userId="42419631-bd19-4e2d-8d0e-2a49042d0d37" providerId="ADAL" clId="{8C2EFFA7-1237-4F01-A972-E8BC4852791F}" dt="2024-03-21T22:29:19.846" v="970" actId="20577"/>
          <ac:cxnSpMkLst>
            <pc:docMk/>
            <pc:sldMk cId="2433446030" sldId="2147482148"/>
            <ac:cxnSpMk id="20" creationId="{E0B08D7D-345E-2C68-E0F9-C0581C7ECC00}"/>
          </ac:cxnSpMkLst>
        </pc:cxnChg>
        <pc:cxnChg chg="add mod">
          <ac:chgData name="Xiaomin Lu" userId="42419631-bd19-4e2d-8d0e-2a49042d0d37" providerId="ADAL" clId="{8C2EFFA7-1237-4F01-A972-E8BC4852791F}" dt="2024-03-21T22:32:40.592" v="996" actId="1076"/>
          <ac:cxnSpMkLst>
            <pc:docMk/>
            <pc:sldMk cId="2433446030" sldId="2147482148"/>
            <ac:cxnSpMk id="22" creationId="{C30D63CE-4B2E-180D-792D-B447998AD82B}"/>
          </ac:cxnSpMkLst>
        </pc:cxnChg>
        <pc:cxnChg chg="add mod">
          <ac:chgData name="Xiaomin Lu" userId="42419631-bd19-4e2d-8d0e-2a49042d0d37" providerId="ADAL" clId="{8C2EFFA7-1237-4F01-A972-E8BC4852791F}" dt="2024-03-21T22:35:31.458" v="1014" actId="14100"/>
          <ac:cxnSpMkLst>
            <pc:docMk/>
            <pc:sldMk cId="2433446030" sldId="2147482148"/>
            <ac:cxnSpMk id="24" creationId="{4B144D7C-C43A-7A98-B529-ECF0988EB91A}"/>
          </ac:cxnSpMkLst>
        </pc:cxnChg>
        <pc:cxnChg chg="add mod">
          <ac:chgData name="Xiaomin Lu" userId="42419631-bd19-4e2d-8d0e-2a49042d0d37" providerId="ADAL" clId="{8C2EFFA7-1237-4F01-A972-E8BC4852791F}" dt="2024-03-21T22:29:19.846" v="970" actId="20577"/>
          <ac:cxnSpMkLst>
            <pc:docMk/>
            <pc:sldMk cId="2433446030" sldId="2147482148"/>
            <ac:cxnSpMk id="8203" creationId="{88C7967F-7361-1982-DB86-D0DDC250F709}"/>
          </ac:cxnSpMkLst>
        </pc:cxnChg>
        <pc:cxnChg chg="add mod">
          <ac:chgData name="Xiaomin Lu" userId="42419631-bd19-4e2d-8d0e-2a49042d0d37" providerId="ADAL" clId="{8C2EFFA7-1237-4F01-A972-E8BC4852791F}" dt="2024-03-21T22:30:26.571" v="987" actId="6549"/>
          <ac:cxnSpMkLst>
            <pc:docMk/>
            <pc:sldMk cId="2433446030" sldId="2147482148"/>
            <ac:cxnSpMk id="8204" creationId="{44C33BE3-51CB-989D-6D09-90B3AA12AFDF}"/>
          </ac:cxnSpMkLst>
        </pc:cxnChg>
      </pc:sldChg>
      <pc:sldChg chg="modSp mod modCm modNotesTx">
        <pc:chgData name="Xiaomin Lu" userId="42419631-bd19-4e2d-8d0e-2a49042d0d37" providerId="ADAL" clId="{8C2EFFA7-1237-4F01-A972-E8BC4852791F}" dt="2024-03-26T20:34:02.918" v="2814" actId="948"/>
        <pc:sldMkLst>
          <pc:docMk/>
          <pc:sldMk cId="1832365024" sldId="2147482149"/>
        </pc:sldMkLst>
        <pc:spChg chg="mod">
          <ac:chgData name="Xiaomin Lu" userId="42419631-bd19-4e2d-8d0e-2a49042d0d37" providerId="ADAL" clId="{8C2EFFA7-1237-4F01-A972-E8BC4852791F}" dt="2024-03-26T06:05:21.351" v="2592" actId="1076"/>
          <ac:spMkLst>
            <pc:docMk/>
            <pc:sldMk cId="1832365024" sldId="2147482149"/>
            <ac:spMk id="4" creationId="{2402B536-6F4B-0BC0-5718-266C9D08A38C}"/>
          </ac:spMkLst>
        </pc:spChg>
        <pc:spChg chg="mod">
          <ac:chgData name="Xiaomin Lu" userId="42419631-bd19-4e2d-8d0e-2a49042d0d37" providerId="ADAL" clId="{8C2EFFA7-1237-4F01-A972-E8BC4852791F}" dt="2024-03-26T20:34:02.918" v="2814" actId="948"/>
          <ac:spMkLst>
            <pc:docMk/>
            <pc:sldMk cId="1832365024" sldId="2147482149"/>
            <ac:spMk id="6" creationId="{1AB96CCB-C26D-C7F6-A698-34F8610FCC72}"/>
          </ac:spMkLst>
        </pc:spChg>
        <pc:spChg chg="mod">
          <ac:chgData name="Xiaomin Lu" userId="42419631-bd19-4e2d-8d0e-2a49042d0d37" providerId="ADAL" clId="{8C2EFFA7-1237-4F01-A972-E8BC4852791F}" dt="2024-03-26T20:33:06.540" v="2809" actId="20577"/>
          <ac:spMkLst>
            <pc:docMk/>
            <pc:sldMk cId="1832365024" sldId="2147482149"/>
            <ac:spMk id="8" creationId="{8F12C514-1207-0691-263F-F3BC2ACE7F17}"/>
          </ac:spMkLst>
        </pc:spChg>
        <pc:spChg chg="mod">
          <ac:chgData name="Xiaomin Lu" userId="42419631-bd19-4e2d-8d0e-2a49042d0d37" providerId="ADAL" clId="{8C2EFFA7-1237-4F01-A972-E8BC4852791F}" dt="2024-03-26T20:31:33.945" v="2806" actId="1076"/>
          <ac:spMkLst>
            <pc:docMk/>
            <pc:sldMk cId="1832365024" sldId="2147482149"/>
            <ac:spMk id="12" creationId="{2D1AB2D5-1A84-4BFB-EF75-A11A9BF2B138}"/>
          </ac:spMkLst>
        </pc:spChg>
        <pc:spChg chg="mod">
          <ac:chgData name="Xiaomin Lu" userId="42419631-bd19-4e2d-8d0e-2a49042d0d37" providerId="ADAL" clId="{8C2EFFA7-1237-4F01-A972-E8BC4852791F}" dt="2024-03-26T20:31:18.527" v="2802" actId="1076"/>
          <ac:spMkLst>
            <pc:docMk/>
            <pc:sldMk cId="1832365024" sldId="2147482149"/>
            <ac:spMk id="16" creationId="{7654415D-593C-1CBA-3A27-FC76D747F1B2}"/>
          </ac:spMkLst>
        </pc:spChg>
        <pc:spChg chg="mod">
          <ac:chgData name="Xiaomin Lu" userId="42419631-bd19-4e2d-8d0e-2a49042d0d37" providerId="ADAL" clId="{8C2EFFA7-1237-4F01-A972-E8BC4852791F}" dt="2024-03-26T20:33:38.662" v="2811" actId="1076"/>
          <ac:spMkLst>
            <pc:docMk/>
            <pc:sldMk cId="1832365024" sldId="2147482149"/>
            <ac:spMk id="8213" creationId="{A9B01587-39AD-BE3E-C194-BEAA4416EAD7}"/>
          </ac:spMkLst>
        </pc:spChg>
        <pc:spChg chg="mod">
          <ac:chgData name="Xiaomin Lu" userId="42419631-bd19-4e2d-8d0e-2a49042d0d37" providerId="ADAL" clId="{8C2EFFA7-1237-4F01-A972-E8BC4852791F}" dt="2024-03-26T20:31:45.051" v="2808" actId="1076"/>
          <ac:spMkLst>
            <pc:docMk/>
            <pc:sldMk cId="1832365024" sldId="2147482149"/>
            <ac:spMk id="8239" creationId="{CA82C06E-5098-680D-211B-FBCEBF597426}"/>
          </ac:spMkLst>
        </pc:spChg>
        <pc:cxnChg chg="mod">
          <ac:chgData name="Xiaomin Lu" userId="42419631-bd19-4e2d-8d0e-2a49042d0d37" providerId="ADAL" clId="{8C2EFFA7-1237-4F01-A972-E8BC4852791F}" dt="2024-03-26T20:31:18.527" v="2802" actId="1076"/>
          <ac:cxnSpMkLst>
            <pc:docMk/>
            <pc:sldMk cId="1832365024" sldId="2147482149"/>
            <ac:cxnSpMk id="11" creationId="{7D7C7EA5-22CA-2338-7F8C-70092ABA2D1E}"/>
          </ac:cxnSpMkLst>
        </pc:cxnChg>
        <pc:cxnChg chg="mod">
          <ac:chgData name="Xiaomin Lu" userId="42419631-bd19-4e2d-8d0e-2a49042d0d37" providerId="ADAL" clId="{8C2EFFA7-1237-4F01-A972-E8BC4852791F}" dt="2024-03-26T20:31:33.945" v="2806" actId="1076"/>
          <ac:cxnSpMkLst>
            <pc:docMk/>
            <pc:sldMk cId="1832365024" sldId="2147482149"/>
            <ac:cxnSpMk id="13" creationId="{93DDBF01-A74F-A7DD-925B-4910DE785F80}"/>
          </ac:cxnSpMkLst>
        </pc:cxnChg>
        <pc:cxnChg chg="mod">
          <ac:chgData name="Xiaomin Lu" userId="42419631-bd19-4e2d-8d0e-2a49042d0d37" providerId="ADAL" clId="{8C2EFFA7-1237-4F01-A972-E8BC4852791F}" dt="2024-03-26T20:33:38.662" v="2811" actId="1076"/>
          <ac:cxnSpMkLst>
            <pc:docMk/>
            <pc:sldMk cId="1832365024" sldId="2147482149"/>
            <ac:cxnSpMk id="14" creationId="{19EFBBEF-4BBC-629C-C5F6-5BF9E790B505}"/>
          </ac:cxnSpMkLst>
        </pc:cxnChg>
        <pc:cxnChg chg="mod">
          <ac:chgData name="Xiaomin Lu" userId="42419631-bd19-4e2d-8d0e-2a49042d0d37" providerId="ADAL" clId="{8C2EFFA7-1237-4F01-A972-E8BC4852791F}" dt="2024-03-24T04:28:41.136" v="1076" actId="14100"/>
          <ac:cxnSpMkLst>
            <pc:docMk/>
            <pc:sldMk cId="1832365024" sldId="2147482149"/>
            <ac:cxnSpMk id="24" creationId="{4B144D7C-C43A-7A98-B529-ECF0988EB91A}"/>
          </ac:cxnSpMkLst>
        </pc:cxnChg>
      </pc:sldChg>
      <pc:sldChg chg="modSp mod addCm modCm">
        <pc:chgData name="Xiaomin Lu" userId="42419631-bd19-4e2d-8d0e-2a49042d0d37" providerId="ADAL" clId="{8C2EFFA7-1237-4F01-A972-E8BC4852791F}" dt="2024-03-26T17:34:07.537" v="2793" actId="14100"/>
        <pc:sldMkLst>
          <pc:docMk/>
          <pc:sldMk cId="1537990309" sldId="2147482150"/>
        </pc:sldMkLst>
        <pc:spChg chg="mod">
          <ac:chgData name="Xiaomin Lu" userId="42419631-bd19-4e2d-8d0e-2a49042d0d37" providerId="ADAL" clId="{8C2EFFA7-1237-4F01-A972-E8BC4852791F}" dt="2024-03-26T17:34:07.537" v="2793" actId="14100"/>
          <ac:spMkLst>
            <pc:docMk/>
            <pc:sldMk cId="1537990309" sldId="2147482150"/>
            <ac:spMk id="11" creationId="{57962241-D95E-A7BD-CE7E-BBC9222CBD21}"/>
          </ac:spMkLst>
        </pc:spChg>
        <pc:spChg chg="mod">
          <ac:chgData name="Xiaomin Lu" userId="42419631-bd19-4e2d-8d0e-2a49042d0d37" providerId="ADAL" clId="{8C2EFFA7-1237-4F01-A972-E8BC4852791F}" dt="2024-03-26T04:10:50.129" v="1085" actId="207"/>
          <ac:spMkLst>
            <pc:docMk/>
            <pc:sldMk cId="1537990309" sldId="2147482150"/>
            <ac:spMk id="168" creationId="{75DEE7ED-6B79-48CE-B782-CDBE7B789DAC}"/>
          </ac:spMkLst>
        </pc:spChg>
      </pc:sldChg>
      <pc:sldChg chg="addCm">
        <pc:chgData name="Xiaomin Lu" userId="42419631-bd19-4e2d-8d0e-2a49042d0d37" providerId="ADAL" clId="{8C2EFFA7-1237-4F01-A972-E8BC4852791F}" dt="2024-03-26T06:32:07.995" v="2679"/>
        <pc:sldMkLst>
          <pc:docMk/>
          <pc:sldMk cId="2116408602" sldId="2147482151"/>
        </pc:sldMkLst>
      </pc:sldChg>
      <pc:sldChg chg="addSp delSp modSp add del mod delCm modCm">
        <pc:chgData name="Xiaomin Lu" userId="42419631-bd19-4e2d-8d0e-2a49042d0d37" providerId="ADAL" clId="{8C2EFFA7-1237-4F01-A972-E8BC4852791F}" dt="2024-03-26T05:03:52.639" v="1325" actId="1076"/>
        <pc:sldMkLst>
          <pc:docMk/>
          <pc:sldMk cId="70275736" sldId="2147482152"/>
        </pc:sldMkLst>
        <pc:spChg chg="mod">
          <ac:chgData name="Xiaomin Lu" userId="42419631-bd19-4e2d-8d0e-2a49042d0d37" providerId="ADAL" clId="{8C2EFFA7-1237-4F01-A972-E8BC4852791F}" dt="2024-03-26T04:50:29.525" v="1226" actId="255"/>
          <ac:spMkLst>
            <pc:docMk/>
            <pc:sldMk cId="70275736" sldId="2147482152"/>
            <ac:spMk id="2" creationId="{92A35801-79E8-CD3C-D0DB-8806A4F0534D}"/>
          </ac:spMkLst>
        </pc:spChg>
        <pc:spChg chg="mod">
          <ac:chgData name="Xiaomin Lu" userId="42419631-bd19-4e2d-8d0e-2a49042d0d37" providerId="ADAL" clId="{8C2EFFA7-1237-4F01-A972-E8BC4852791F}" dt="2024-03-26T04:36:58.152" v="1150" actId="14100"/>
          <ac:spMkLst>
            <pc:docMk/>
            <pc:sldMk cId="70275736" sldId="2147482152"/>
            <ac:spMk id="3" creationId="{09BBE3A6-30E9-C575-AD23-3A71C0A0987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" creationId="{19B394F7-4017-8A97-52E7-1C380BD2881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" creationId="{AAE1179F-B0C7-A745-6E93-40DB9395285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" creationId="{90BFB794-B3AA-A374-AEA2-21CB53016B3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" creationId="{2D7EB46F-13C4-FFFD-CF3C-CC2B414F537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" creationId="{CD1F7E39-289D-62D0-6370-4899889A4C5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" creationId="{497F0F6B-90BD-5871-BC46-149A3C7BDE4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" creationId="{38D00534-034D-930C-032A-BDCA129BCE0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" creationId="{DE83C81F-ED11-4CC8-0749-1C45DC6876D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" creationId="{21C47DB8-3116-30E0-60A3-5751EBADB45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" creationId="{8B505975-1C32-3597-2949-DADB6C70527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" creationId="{27E7BA22-FED1-5D45-EDFA-1C0B988DD100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7" creationId="{5EBC72FF-B762-F9E8-DD9C-90BDE0A22604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8" creationId="{61D1453F-84B6-B0B2-80C8-C435DD002A84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9" creationId="{B1E9F2A1-6477-29DD-6BA5-95CEF3406A0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0" creationId="{16705018-0547-4A12-7658-917DCEDE838D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1" creationId="{3C11682C-B1B3-203B-BB00-04606BC42AA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2" creationId="{CE3483BE-0D06-7723-F049-053377CD2C93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3" creationId="{20386761-A71E-ADBB-D30F-377513395C3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4" creationId="{B7E98AC3-9098-B8A2-5ADD-E2548F190766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5" creationId="{34C5EBA1-1E59-EC33-F3F1-ED865DE03BB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6" creationId="{4B379170-F25E-C9F0-A825-208CF338B1C0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7" creationId="{A6542DA0-E813-0A01-2633-8E3C18D3C74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8" creationId="{1F2AB154-1D25-98B9-D220-968EF479502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9" creationId="{0A1F0C96-86B1-6610-A63B-0039B828798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0" creationId="{B4234B77-B589-5C43-1C00-3B5C2964EFE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1" creationId="{93DFD95A-4130-32F7-3D21-5D1F35B07BD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2" creationId="{8988F97D-0EE1-3D15-5A74-5929BE6FAA4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3" creationId="{E2D55E8A-80AD-91E8-066D-C7419B5ACBC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4" creationId="{B501BD79-F393-74B4-51F6-D88B235D67DD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5" creationId="{58C2CD11-9828-9BE2-C7E5-74093B5A0480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6" creationId="{A8633F44-BDDF-01AE-50AB-B00325217CC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7" creationId="{626A24A6-D3A6-56BB-F06C-E992FF013EF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8" creationId="{06357455-0253-95C5-9A3B-9402FC3CB961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39" creationId="{CE778781-8631-CAD5-2F7E-7530E0550E8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0" creationId="{1BC6FE4A-6961-4F5F-8C04-BD0B2828F80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1" creationId="{506E4155-E1F3-FED2-C15B-7F0D97EF2EF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2" creationId="{670D7C63-2C86-AB82-BA4B-DC8974887BD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3" creationId="{B713D06D-A32C-C5A0-68B2-65615DD9C88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4" creationId="{F724FCCC-ED36-F4FD-6DFB-7124584F22D7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5" creationId="{1C3058E3-A39B-7BF9-3D9A-8E552420B6F3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6" creationId="{552A50A9-924F-7C6B-ACF8-4937F8E82891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7" creationId="{E16BF1FB-9458-D9D3-1328-9DC395AEF0DD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8" creationId="{63C4B0D7-50A8-D81E-9DCA-FFF1F2BC9344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49" creationId="{95D4EEE6-B617-5DB1-7A1C-69A09BA6CFA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0" creationId="{8CDF0809-92E1-7D34-5352-EAF91AC60C9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1" creationId="{BF6362E4-C1B0-597C-B2DC-8BFCDE5BBF2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2" creationId="{03D12E06-D0E3-F13B-F545-30DA5CE62D6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3" creationId="{D88F0C02-0E36-C8C8-2E1F-6244AA8D26A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4" creationId="{939CF0B0-8DCF-F1B1-BFF1-524742ED6E34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5" creationId="{68A64840-885B-D805-B751-A10818F146C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6" creationId="{C7F6DF00-2D33-B9F4-9A21-F7F19CCD565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7" creationId="{ED675110-5D73-35B5-2E89-277C20F1A1C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8" creationId="{09FB1BA0-9DA5-2EA7-B4E9-8E1A1B96117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59" creationId="{E8068725-B948-F86F-F504-9F13F3889436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0" creationId="{A91E9878-D65E-CC21-8B72-A7E8DAA512B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1" creationId="{95CD2A7C-5786-2190-CD8E-979F87F137B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2" creationId="{E843BE87-D1ED-9DC9-CC56-79DBA4ACFD01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3" creationId="{CA363A2C-8E10-6E68-F671-0CC95876AF21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4" creationId="{65B1AFA0-DF4E-D7F3-BA3D-02A000034754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5" creationId="{6C19E6BE-D911-3CD9-B78D-69E56135BDE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6" creationId="{E11DF429-CC89-31C1-0CF4-EEAE7AF95DC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7" creationId="{B25C2309-CDB4-273C-E46A-A73535B11356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8" creationId="{3558160D-4A99-A264-152A-961C87A43577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69" creationId="{779F4137-2A47-3B42-F9CB-F3F691F037F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0" creationId="{AF4CACC1-BC9C-C264-0550-626FDEDA7EF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1" creationId="{6A57D79A-1410-2079-F9EC-2B4B70593BF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2" creationId="{0620F766-F6F8-5440-4810-0ACF29D3860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3" creationId="{5A03FCA0-E81E-D7A2-613B-F78C7EC6E23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4" creationId="{0423710E-1606-CC6B-7A8D-237FC55B4F4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5" creationId="{F72A51E0-EE19-D87D-2D5B-2A6F0261C024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6" creationId="{9AC9CFF8-10BB-FB33-4FDE-446D548B8D64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7" creationId="{8CAFCC63-F7C3-2F94-7D22-79B780C3136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8" creationId="{9E5A4C95-41F4-32A1-12D9-6854CC9ACC8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79" creationId="{19CBB9BF-EAF8-E92D-7BC1-E57F014CBD5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0" creationId="{0629736E-1B90-6C42-E935-4C1D722E372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1" creationId="{E4AFC14B-37F5-CA06-192B-0243D87A6F1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2" creationId="{91F1DCF6-24C4-BBA8-7523-7A1729F735F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3" creationId="{635A5168-9401-2EBF-88B4-E35C3E8F16D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4" creationId="{40EC37D3-3F96-B589-8729-CC4B8D75767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5" creationId="{BF4B6E45-0C3A-F597-3BB5-4F0E630D7E51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6" creationId="{9327D282-7B39-49A7-4169-65FE1E470806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7" creationId="{FA84C136-20E8-8FA0-53E5-3D87FE44A8C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8" creationId="{68CF64F0-D459-6BED-9AAE-4FEF5B5D7AF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89" creationId="{B9270B84-21EA-1855-8614-BFE74372F71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0" creationId="{DC41EBC0-BDD6-1A2D-8A6B-F011D5D30D6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1" creationId="{6183D84B-C938-71B3-8258-FB3145D77EB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2" creationId="{32EFFE76-C332-6D3E-D657-78BFFEE43470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3" creationId="{ECB7105D-7D3C-6C39-183C-07F8811620F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4" creationId="{12793A24-4BC6-C445-D4BA-B7C75CF4FC8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5" creationId="{C01D7E6B-4F65-14D0-35AA-E809A6816AED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6" creationId="{AD12878D-8D5F-7DB1-7F4C-1650A0B486D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7" creationId="{23E7F209-3F0A-46F8-A039-EDA25FDB1D53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8" creationId="{031FAA04-543D-3194-051F-4F5FD9BE7480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99" creationId="{2E837B81-8DFF-0235-5899-E31FF41F81D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0" creationId="{2CEC3E97-97A5-BDD4-223B-F48F8884FEE7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1" creationId="{AE9004E6-5417-210A-4AAE-6844316B1C5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2" creationId="{AEB11951-5E97-43FA-FA02-F4DC1D4A251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3" creationId="{33A0326D-E4C4-EE60-649B-300266B1FA1D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4" creationId="{ED3026D6-C035-3B35-3C99-0465215308B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5" creationId="{37A0491F-9A19-880D-6D53-221E776A23A1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6" creationId="{34BCD3D7-847C-A6BE-FDB7-986BDF0071F6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7" creationId="{1A5536A0-DDBD-947D-8B64-173AA3D85F66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8" creationId="{A7FD0813-BB20-70BC-C8AE-F2BA86365BB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09" creationId="{6CCDF2C1-2A27-93D7-87E4-C47FBC22F99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0" creationId="{F08638B3-0E87-E56A-FFFF-8AF1E9A42A3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1" creationId="{A5298AD9-799E-50B7-88E6-6126F5CC09C1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2" creationId="{91492AC8-F941-35F5-2290-A9BD6685C47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3" creationId="{79D85E32-6102-2F92-B6A6-3AF3BBDC681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4" creationId="{5BABA29F-7CC0-2AE4-8CAD-751738BCBF2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5" creationId="{7B0B9863-040C-2503-68C1-B51462C96364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6" creationId="{718C28D1-0D61-EF2C-6BC4-519BEAF120C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7" creationId="{381894B1-10F2-31B1-0844-C278D429349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8" creationId="{05DE8257-ED73-895D-26C8-22686967D2B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19" creationId="{82081D21-5FF0-C5F1-BA0D-CE6F5E3EC734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0" creationId="{69F1C7ED-7448-FF6E-1A9F-B21BC73F412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1" creationId="{38DBE776-7CF8-B007-218F-D2365C99518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2" creationId="{0A19523D-8BAC-3136-1690-1443290CEE8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3" creationId="{A20FC568-E9DE-BEE6-A1EE-91E2EFB82E06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4" creationId="{0B8BC5A4-5855-F473-4149-DE4406D51747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5" creationId="{B47E36D2-540E-8700-C556-AB4E3FF617B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6" creationId="{3BD07B6F-B85B-C7CC-2B39-296E29830B1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7" creationId="{0C10CE9B-3E1B-1972-C0EC-2B80C0C2C547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8" creationId="{D1BCE569-268C-316D-C019-882A40FA3C6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29" creationId="{12962935-633E-E638-4588-DD66DB5C54D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0" creationId="{AAEC9A61-1A05-5394-C422-D1A25109D14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1" creationId="{981E9384-9153-ED6E-E7DE-F43D0123C4F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2" creationId="{C9194E09-E9C5-003F-6954-D4A871D3905D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3" creationId="{FCB26AD3-5138-207D-1038-1EE2174B5CF3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4" creationId="{3401D301-77BB-53F7-64CD-17343C9DC7D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5" creationId="{94CBF94A-CEAF-EDBE-98DC-D93BAD6F678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6" creationId="{3235871A-437B-BD84-AADB-C7C428A734D6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7" creationId="{A1A0315F-73AA-ABEB-FE9D-94D837F5EFE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8" creationId="{8C190677-6EF8-0835-81E8-E12F0DF2F72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39" creationId="{DB0348AA-EFEB-9D39-9D14-04C1458F7C1D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0" creationId="{F847D2FD-943E-7A48-F22A-78229CD84583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1" creationId="{19C16E43-A008-7DF2-16D4-4EF6BDB4CDB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2" creationId="{2E5363FB-35B2-C0F5-DFF6-D3ABB4DEFB7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3" creationId="{A0A5B703-F015-F0AF-87A5-50D31231C8B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4" creationId="{B77830DF-79AD-8638-BC47-58F1FFE14E3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5" creationId="{AA3FC7DC-DC58-F69D-1FC5-AAF6C8A9AF0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6" creationId="{99F07E00-C3A0-197C-E061-B3EAFEC35AAC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7" creationId="{EA029C02-25E3-5232-91B9-6AEA9A86754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48" creationId="{FC4825EA-9400-18DA-43D6-2C57E83E5C1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0" creationId="{1161E57E-C41A-D405-CCB0-2CCE09829E07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1" creationId="{FE00162E-02A6-FA6E-D1DE-1F60895AAE21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2" creationId="{FCB064CA-863B-01DC-082B-8700C58D047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3" creationId="{12C9403D-9C0C-289B-CD3C-8B444CAB6D6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4" creationId="{2D72ED9C-7482-1273-33C5-C035BE6B0DF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5" creationId="{45953084-046C-A3DA-34D0-5A9EB7B348CE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6" creationId="{6FC2C7AE-2678-15C4-06AE-FABB6983F479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7" creationId="{7B2B4C26-EA0E-CD23-264C-35215A2E8D4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8" creationId="{B6005235-032C-AC14-3811-8A73EFED3F2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59" creationId="{0746006C-8D75-6ABD-D182-844E863276D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0" creationId="{703A3733-17F3-3F5F-56AE-AC90256E4E68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1" creationId="{54941D43-FE08-F069-9BD8-F0BCB38D1466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2" creationId="{1BBF67C6-9073-5C59-FFC2-ED9B26AAF59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3" creationId="{F6CA0BB5-7C2F-A176-7925-1454C65C14F7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4" creationId="{48B72913-E9DB-9296-A400-ED93E0C20F5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5" creationId="{5C9B72CD-E87B-770B-CE8B-E16F89DC49CD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6" creationId="{FB1340F5-D093-ABF2-D6E5-83AC403B196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7" creationId="{1063651A-36F7-B41D-336A-9B5FB519BA9B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8" creationId="{03E0108A-705E-42E0-9C8F-55989D5687E7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69" creationId="{B248D541-7ABF-A6BC-91C2-DDAD8FE38908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70" creationId="{9ED111B0-B647-AC53-8267-9F97D0109E02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72" creationId="{03E24248-4C30-44BE-17E5-A382B46AB1F3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73" creationId="{C318C18A-07F3-D9D5-F296-45FE893BE6C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74" creationId="{77D0D329-ED4D-D31E-0123-7ABC923CFF15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75" creationId="{F41C248D-D53D-C483-3D8A-96F43DF4B0A7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77" creationId="{2576DAD1-F12C-C187-F64A-6BD9453930DA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78" creationId="{F17439D2-933B-4B5C-8587-3C71E06C300E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79" creationId="{E5FEC99A-5474-7FDE-BC0A-A4EA60FDEBD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81" creationId="{CD4C97FE-FF26-D116-789A-0D755A2E3DB3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82" creationId="{1D1A167F-50B2-BC10-C681-1F2520FDC746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83" creationId="{2F6309D3-FB8B-FE28-10A2-47F10EA98EDD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85" creationId="{8E44CCE5-915F-BEB7-AE34-746E17EDFCBF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186" creationId="{3CAD5F20-F79D-DF3A-2105-C974561DAB6C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92" creationId="{DFDA0DF7-192C-42B7-D373-B6FF9CB7C6AC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93" creationId="{BC46A960-BB0C-C2B4-EA82-2518809C0867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94" creationId="{AFD29081-9FB2-C553-6F56-58443891619F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95" creationId="{CE347854-4915-5611-EDF8-706B8570635E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96" creationId="{74A7D5FC-4091-0E2A-A63F-D24A2CAF6298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97" creationId="{FBD34A53-D667-7D76-2E09-D869A3C1D9A2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98" creationId="{400F32F9-FBDE-B62F-79E6-02B4B112757C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199" creationId="{CB5B513F-33DF-AAFA-1147-947F692BB95F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200" creationId="{311E5615-4EF8-18CE-73D7-A11524EA343E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201" creationId="{2F101379-DBAA-42F3-6AEE-9AD87D83E154}"/>
          </ac:spMkLst>
        </pc:spChg>
        <pc:spChg chg="add del mod">
          <ac:chgData name="Xiaomin Lu" userId="42419631-bd19-4e2d-8d0e-2a49042d0d37" providerId="ADAL" clId="{8C2EFFA7-1237-4F01-A972-E8BC4852791F}" dt="2024-03-26T04:32:23.620" v="1120"/>
          <ac:spMkLst>
            <pc:docMk/>
            <pc:sldMk cId="70275736" sldId="2147482152"/>
            <ac:spMk id="203" creationId="{27BA444E-058F-4C1A-B4FE-B14919BA6F73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05" creationId="{28DFE915-7A57-50C9-3E8F-03D22EA10D45}"/>
          </ac:spMkLst>
        </pc:spChg>
        <pc:spChg chg="mod">
          <ac:chgData name="Xiaomin Lu" userId="42419631-bd19-4e2d-8d0e-2a49042d0d37" providerId="ADAL" clId="{8C2EFFA7-1237-4F01-A972-E8BC4852791F}" dt="2024-03-26T04:32:17.902" v="1119"/>
          <ac:spMkLst>
            <pc:docMk/>
            <pc:sldMk cId="70275736" sldId="2147482152"/>
            <ac:spMk id="206" creationId="{96A018EC-72D8-F8E6-5E1E-D0A82BB11ED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08" creationId="{6D005E38-4A14-8E42-CBE9-A07FB6A2003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09" creationId="{092B9BDE-1034-834A-1F78-2F666D8018B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0" creationId="{E6F53C93-F06F-9A9E-D664-8BB68847EBB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1" creationId="{B75AF250-61F3-AE98-B690-DA9F773D8DD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2" creationId="{2A2FC70D-4BE4-3634-1557-3290A87AEC5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3" creationId="{F4D4C00C-75B6-A2BC-7655-C3AC631E205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4" creationId="{D5E44308-0926-C33D-9A26-8CA0FC3B932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5" creationId="{17A79A61-8E71-F203-A536-01F17EA7EFD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6" creationId="{2EA0561C-3FE8-6C87-1B17-A6B4F4C403C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7" creationId="{E5D338E3-9608-4E2D-2C91-DD67D855465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8" creationId="{DD728A21-9D65-4C4E-68B9-2C7891518298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19" creationId="{0F4897F3-5769-CDFF-501C-2F97922A2673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0" creationId="{FA2B1774-C887-2EDB-CA59-EC81A8C23B9F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1" creationId="{FEB44D46-E2B9-1EC7-9692-F3E022EBD81F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2" creationId="{67E3D766-40E2-E9CE-F39B-3AD30DCA355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3" creationId="{0941FA83-3780-CDF1-E7AC-FE1A5F5CA460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4" creationId="{DD9A9C3D-849C-54CD-C5BB-5BB7EEA20C4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5" creationId="{A16A301D-4823-A305-32E4-9B68B23E6E90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6" creationId="{55178B73-AB7F-9504-C3EA-64171A6A07C0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7" creationId="{F391B447-6A36-FF41-02E8-C42DDD1DCFB1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8" creationId="{83B31C82-D0F2-284B-6BD7-760553B23C6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29" creationId="{98A0BF47-BCA4-FC34-5249-2A59FD0A2D6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0" creationId="{7D34F837-52DB-F101-2735-114ED87A2FE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1" creationId="{4527797B-6FEC-DF1C-6014-1D633BBAB078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2" creationId="{E22ACD40-4763-6B4A-6B92-D5177EB64DEF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3" creationId="{F61F050F-45FC-40D4-65FF-C02C4DE112A8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4" creationId="{F5FDB9B8-959D-DBF8-A39B-E6C16AD745FE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5" creationId="{8CDFA266-6BFF-8F69-2458-CA415E86B0B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6" creationId="{75D1643E-4667-AB68-A216-133EEC3A49C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7" creationId="{8FA9383F-36BA-888E-9695-397A295AF957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8" creationId="{71F6702E-DBE2-7C11-4A48-E75F63625EA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39" creationId="{B9015DDA-4F7B-B8F5-B021-4BF14831110C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0" creationId="{CA404347-3BBE-7194-49DD-3205E2DEA7B0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1" creationId="{18142542-81B5-2106-8DBA-3798F542B53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2" creationId="{A241B1E4-4833-39E3-FE79-529365BBA8DE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3" creationId="{345D6AF8-0D09-2A39-15BE-F62B3A05BF2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4" creationId="{3808412C-04EB-DE7C-7037-B67A86B6E3C7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5" creationId="{6FC3FCC2-0C31-52C0-7475-DAACA8C92ED0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6" creationId="{61525B41-2D8C-8B70-20D1-5930F0170CB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7" creationId="{43C466DE-617E-3B77-FB0A-53B2A2E56A7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8" creationId="{71DCDC2C-7918-D7D2-74EF-287EF3BFCE3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49" creationId="{26B765FB-D883-E3B9-6B8C-773EE4EB075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0" creationId="{51F1F5E7-1368-E80E-DD25-966E6A8C4CB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1" creationId="{920CBD6B-4584-3224-7BB6-16DC0E8D83B0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2" creationId="{6585BB2E-235C-9B64-774B-9390A838493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3" creationId="{59822B10-EDF1-AC5C-74BF-DEDACF99A21E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4" creationId="{5D174765-76D7-F444-EB3A-65422F22815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5" creationId="{086AE20C-CCD7-4642-23E1-AFBACF715CD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6" creationId="{0E52AA1F-55EC-2A88-1EDD-B22136612BE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7" creationId="{E8598EFE-BE16-1FCB-91C0-4555A40CFA0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8" creationId="{12CB0308-1FFA-7C40-8210-6E0BFF84A22F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59" creationId="{D092F3EE-E437-D45E-7D7D-D4B1E2A1CFA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0" creationId="{E156D57E-F5D3-FC13-C58D-7127A57A0D2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1" creationId="{9FD30F01-5C56-83DE-24F6-3FBD8A65F1F3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2" creationId="{35FFD5BC-E0D9-553B-E3A2-9FD554B8FE1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3" creationId="{DEEC7C76-68C8-8A84-987A-61DC5EC81D9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4" creationId="{B8EF9373-5C28-D249-6CBD-6F0F4925704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5" creationId="{4DBEE9F2-348C-12AD-440E-91E54F39DD3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6" creationId="{8312A5E8-6628-C5C4-717B-92921E906B7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7" creationId="{6C247937-9A2B-7B1C-2369-2E844011C2DC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8" creationId="{63717F47-094D-867F-7CB4-C531FE90BA4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69" creationId="{CF86FD04-917D-3946-371B-20C177C2FBB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0" creationId="{EE9481FC-5021-B54C-02AC-B3DC0C01CAAC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1" creationId="{9731AA62-6F63-75F0-7070-A0E2C8515D4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2" creationId="{C15517D2-2F9D-3F00-8CA2-9529792C77F1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3" creationId="{82513164-04B7-5C7A-F010-1952A3EE4D2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4" creationId="{67AD100E-53F4-9247-C249-2E8B5EA776E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5" creationId="{6E0B8033-7BE5-6C0E-9692-A7DECB84849E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6" creationId="{E9492EE5-85E9-E4F7-109A-F6AA9BB78A37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7" creationId="{D5C8E0B1-CCE8-1379-A727-7BBA1394A30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8" creationId="{64E29A8A-FB80-B8AD-EA61-6FCE9A883F33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79" creationId="{BA43AA27-88B9-65C0-909D-F66200576EA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0" creationId="{A701FD4D-8F1C-F35E-4122-1D6CC10812C1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1" creationId="{FE0CEF4D-BE7E-F611-6217-A49B0E830C8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2" creationId="{A3087204-A46F-DD9E-95AD-CCBB6881605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3" creationId="{5217797F-5279-25E8-D201-D41D5C5FCB2C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4" creationId="{A563F222-3EA0-AD60-362F-507CFEF318D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5" creationId="{1A76535C-6B41-E79B-09A6-1173AD831FB1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6" creationId="{79ED6501-74C7-FD3D-63C4-58A37EB536EC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7" creationId="{9010C747-2873-F8F8-1830-2FE6205DB2A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8" creationId="{E512B672-C57E-7D46-F216-650EE24DCADE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89" creationId="{ADF6B26F-F598-9677-C3EB-0BFF7E8F115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0" creationId="{A48711CF-4782-1DD5-36D0-290189C9A9BF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1" creationId="{6E534BC5-384D-2DA1-CC32-CE29CEBBEEF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2" creationId="{AF25EB88-0654-E209-FC6F-18D1B7A48303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3" creationId="{218D70F7-44CD-2774-3211-BC6866B5031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4" creationId="{A96D0722-26AB-3721-5A22-C855AF32CA0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5" creationId="{1DD62620-A3E8-389B-A800-74A9EB16A227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6" creationId="{7BA5E040-7970-D47D-35EE-EAB50205D75C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7" creationId="{BD769CFB-556F-D388-0402-3B96B2965800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8" creationId="{367D3C63-AA14-48A6-B04C-F8D2C913491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299" creationId="{A437C5F1-8E4B-C4A3-04DF-88ED910D71E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0" creationId="{061CE118-E535-C19B-3C9A-38806385C08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1" creationId="{B390CC7D-2D38-E6B1-CABD-89D8524FE22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2" creationId="{A37E4FF4-67C5-5F1F-7C36-160D3F2F6907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3" creationId="{351FF939-28F3-2396-2725-43C27FA01893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4" creationId="{69264887-AC71-3B4C-4927-6EEAEBD0E2F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5" creationId="{D644DE03-C3B1-4338-AA11-29E9B6A42EF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6" creationId="{57FD823F-8C36-3AC1-DE9E-6C2103E8DAC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7" creationId="{194BF45A-34BD-1D32-698B-DA33196E047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8" creationId="{ACC5E4BC-44D2-CC84-FAEE-F7DBA81CD55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09" creationId="{51038C5E-F05D-EB65-8879-CB44FEE4E48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0" creationId="{469240F4-6593-BB33-6A2E-5E45BA2DF19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1" creationId="{11D7E0C0-0D2D-2EA1-9116-FF8AD0A235D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2" creationId="{AA395E45-5164-111E-D1BB-51D90FA6CAD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3" creationId="{A001D813-09DC-DBBB-D032-956C248E53A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4" creationId="{344CE76C-621E-6E0B-1BAB-E17EEF24A833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5" creationId="{D756C4A3-59D5-F861-F6D5-26B6ECE25A3E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6" creationId="{8AAAEDCC-7E65-AD7F-4654-5F686DFDB50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7" creationId="{B7B06728-E0BC-5587-9D0D-1B14835A21B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8" creationId="{6438C6E8-D1F8-7BEB-1796-FB0A455CBF11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19" creationId="{0DF887D5-B694-B0B6-0D1E-F7336B4C42C3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0" creationId="{1C3DE398-D6C0-CE1C-DE9E-11DD1EA3526F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1" creationId="{E68D7BF4-ECBB-BF65-ACF3-88B7F3317E5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2" creationId="{6045C827-757D-5B0E-BB38-F2B7AD3F887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3" creationId="{A75B1EDC-7C94-7E25-ECB7-599138918E73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4" creationId="{D8FBE81F-0B89-A6F0-C98F-57339D3492DF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5" creationId="{8F59AA77-CD1B-066C-D91F-C4DD67083A5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6" creationId="{17328092-75BD-E8AE-0E5E-BCFE99846B8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7" creationId="{8733B9F5-E92D-E900-6C70-C349591141F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8" creationId="{1489A3A7-BA80-681D-DA5C-C50F1FBE2C1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29" creationId="{62E09552-033C-2516-6EF6-BB8A85D3A98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0" creationId="{C3144619-D8FD-DB61-9C02-5EC8B0D890A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1" creationId="{BE208FEE-6748-BB0C-4D75-F64053CDF28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2" creationId="{B521F0C7-29E8-E939-D046-D919285D8B70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3" creationId="{B7036352-35B2-0C59-2F03-B5A3C036F5CC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4" creationId="{DF573F9A-09C1-FBC6-0A06-26CC25E921A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5" creationId="{321E98EC-A7C6-A4A7-066C-05C775A752B7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6" creationId="{05609B3F-E953-3957-C2CE-D3EF36ACAECE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7" creationId="{23CB0B8C-D3D3-996A-253A-FED5F5D4A91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8" creationId="{231FEAA1-BB50-2963-FAFB-A56127923E7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39" creationId="{9FB694CF-D6D8-D23D-1163-10C5A9EED2B1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0" creationId="{59918924-C709-7F88-E74C-D0C23665FA9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1" creationId="{F618F7E6-6BBA-9673-6143-5299FD0E208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2" creationId="{2E2F45B9-7B7B-B045-8574-742A0E79EEE1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3" creationId="{036A399B-2ACC-2D7C-6E19-D152AEA5FB9A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4" creationId="{2CB2B8D6-3208-6939-0F6F-D48CB3022AC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5" creationId="{DF3F6DC3-AA82-E42B-AFA8-DC08D5D784FC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6" creationId="{A440E206-1772-A338-93EA-70D1F40D2C1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7" creationId="{2C8594AE-2C01-1ED9-782A-CD570C70612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8" creationId="{DEAAE1A1-C2BF-C677-578A-C384524290C8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49" creationId="{4C921E41-5088-C69A-5910-3B392F0F1D15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50" creationId="{615617B6-5FDE-1688-166A-34E2AEBC256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52" creationId="{D80B9997-FF61-00FE-B69B-2022A4C7F46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53" creationId="{00B10C1A-04D2-3BF6-5F72-F0EED4AADBD3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54" creationId="{A0AE6499-944A-F714-1C7D-9361432F951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55" creationId="{3EB16217-29A3-31EB-DF6C-AA2002F3696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56" creationId="{64365CAB-D73E-1536-133D-0866B118422D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57" creationId="{722A7893-F647-C7C0-0188-00329EEB10C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58" creationId="{1A2FFCF3-9D06-6B27-D957-73C5B9139B02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59" creationId="{DDF2892D-FE36-5E8B-8947-C2CAD153BB88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0" creationId="{FD3F7057-264E-2E75-D8A2-6186D081426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1" creationId="{FD61F267-3B02-53CD-E3B1-DD493C8F4CF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2" creationId="{185D99AA-6424-2125-C6A7-289D7A4F62B1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3" creationId="{654E493E-BDA8-F4E9-C830-7E21CEAD1C5E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4" creationId="{4A608EC4-B57D-587C-EBA4-0C5021C64A76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5" creationId="{81B10B58-6ACA-600F-2AC3-8D10EBB15747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6" creationId="{B2599F7D-2E36-3CEE-D33E-2450B00152D4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7" creationId="{CEBBB663-7F20-49E0-AB7F-0D4B2BD1AEF9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8" creationId="{758E6019-486C-3AC0-8FE7-BEB484E8E59B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69" creationId="{EEB07180-B13B-30A8-CE6B-FEE2DD019DD0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70" creationId="{69139FDE-481A-4E9B-96F3-5045EE75952E}"/>
          </ac:spMkLst>
        </pc:spChg>
        <pc:spChg chg="mod">
          <ac:chgData name="Xiaomin Lu" userId="42419631-bd19-4e2d-8d0e-2a49042d0d37" providerId="ADAL" clId="{8C2EFFA7-1237-4F01-A972-E8BC4852791F}" dt="2024-03-26T04:57:39.470" v="1290" actId="1076"/>
          <ac:spMkLst>
            <pc:docMk/>
            <pc:sldMk cId="70275736" sldId="2147482152"/>
            <ac:spMk id="371" creationId="{3F92B5C3-138B-6E21-200A-51B05EA9081E}"/>
          </ac:spMkLst>
        </pc:spChg>
        <pc:spChg chg="add mod">
          <ac:chgData name="Xiaomin Lu" userId="42419631-bd19-4e2d-8d0e-2a49042d0d37" providerId="ADAL" clId="{8C2EFFA7-1237-4F01-A972-E8BC4852791F}" dt="2024-03-26T05:03:30.001" v="1324" actId="1076"/>
          <ac:spMkLst>
            <pc:docMk/>
            <pc:sldMk cId="70275736" sldId="2147482152"/>
            <ac:spMk id="372" creationId="{C8D3DF26-62FE-7EB3-64C2-506A2F4EA573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374" creationId="{0541C35F-25CF-4664-2392-9598C735C397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375" creationId="{441D8C60-78CE-BAD6-85D1-316E310C118E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376" creationId="{4E17E43B-58D9-23A0-6B61-D127C56D204E}"/>
          </ac:spMkLst>
        </pc:spChg>
        <pc:spChg chg="add mod">
          <ac:chgData name="Xiaomin Lu" userId="42419631-bd19-4e2d-8d0e-2a49042d0d37" providerId="ADAL" clId="{8C2EFFA7-1237-4F01-A972-E8BC4852791F}" dt="2024-03-26T05:01:36.748" v="1296" actId="1076"/>
          <ac:spMkLst>
            <pc:docMk/>
            <pc:sldMk cId="70275736" sldId="2147482152"/>
            <ac:spMk id="377" creationId="{E9FF7EF9-E347-113C-64CC-C3ADBA095E37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379" creationId="{D6D81B21-FD6A-5433-6E0A-A6DA611F0B63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380" creationId="{9F3BE213-0B36-9ECB-30DC-C7E023F373DD}"/>
          </ac:spMkLst>
        </pc:spChg>
        <pc:spChg chg="add mod">
          <ac:chgData name="Xiaomin Lu" userId="42419631-bd19-4e2d-8d0e-2a49042d0d37" providerId="ADAL" clId="{8C2EFFA7-1237-4F01-A972-E8BC4852791F}" dt="2024-03-26T05:03:52.639" v="1325" actId="1076"/>
          <ac:spMkLst>
            <pc:docMk/>
            <pc:sldMk cId="70275736" sldId="2147482152"/>
            <ac:spMk id="381" creationId="{5832D56D-4916-FE22-4754-DFD108DDB660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383" creationId="{4F6F4EBF-80B1-DA57-A4C4-21A5081AFB6C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384" creationId="{47B2C42A-2C33-BD82-68C6-440B4288150D}"/>
          </ac:spMkLst>
        </pc:spChg>
        <pc:spChg chg="add mod">
          <ac:chgData name="Xiaomin Lu" userId="42419631-bd19-4e2d-8d0e-2a49042d0d37" providerId="ADAL" clId="{8C2EFFA7-1237-4F01-A972-E8BC4852791F}" dt="2024-03-26T04:56:39.328" v="1285" actId="1076"/>
          <ac:spMkLst>
            <pc:docMk/>
            <pc:sldMk cId="70275736" sldId="2147482152"/>
            <ac:spMk id="385" creationId="{2D8B49D8-6234-2BD3-9EF4-3472CD68F728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387" creationId="{6A415BD5-E391-F6B9-F606-F04FBE0241AC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388" creationId="{F79472C3-B780-C1DC-EF4B-AAC9E64E1518}"/>
          </ac:spMkLst>
        </pc:spChg>
        <pc:spChg chg="add mod">
          <ac:chgData name="Xiaomin Lu" userId="42419631-bd19-4e2d-8d0e-2a49042d0d37" providerId="ADAL" clId="{8C2EFFA7-1237-4F01-A972-E8BC4852791F}" dt="2024-03-26T05:03:06.070" v="1322" actId="3064"/>
          <ac:spMkLst>
            <pc:docMk/>
            <pc:sldMk cId="70275736" sldId="2147482152"/>
            <ac:spMk id="394" creationId="{A53A88F1-B1C8-CC0B-8E0E-6C37074DCDA3}"/>
          </ac:spMkLst>
        </pc:spChg>
        <pc:spChg chg="add mod">
          <ac:chgData name="Xiaomin Lu" userId="42419631-bd19-4e2d-8d0e-2a49042d0d37" providerId="ADAL" clId="{8C2EFFA7-1237-4F01-A972-E8BC4852791F}" dt="2024-03-26T05:03:06.803" v="1323" actId="3064"/>
          <ac:spMkLst>
            <pc:docMk/>
            <pc:sldMk cId="70275736" sldId="2147482152"/>
            <ac:spMk id="395" creationId="{D9E9F25F-A298-5E16-7AD9-3E53DEFC4DD7}"/>
          </ac:spMkLst>
        </pc:spChg>
        <pc:spChg chg="add mod">
          <ac:chgData name="Xiaomin Lu" userId="42419631-bd19-4e2d-8d0e-2a49042d0d37" providerId="ADAL" clId="{8C2EFFA7-1237-4F01-A972-E8BC4852791F}" dt="2024-03-26T05:03:02.707" v="1320" actId="3064"/>
          <ac:spMkLst>
            <pc:docMk/>
            <pc:sldMk cId="70275736" sldId="2147482152"/>
            <ac:spMk id="396" creationId="{CAEA1D50-06AE-AED6-B894-68843D202B27}"/>
          </ac:spMkLst>
        </pc:spChg>
        <pc:spChg chg="add mod">
          <ac:chgData name="Xiaomin Lu" userId="42419631-bd19-4e2d-8d0e-2a49042d0d37" providerId="ADAL" clId="{8C2EFFA7-1237-4F01-A972-E8BC4852791F}" dt="2024-03-26T05:03:04.530" v="1321" actId="3064"/>
          <ac:spMkLst>
            <pc:docMk/>
            <pc:sldMk cId="70275736" sldId="2147482152"/>
            <ac:spMk id="397" creationId="{B77B123B-5E06-F552-AC48-3EAE9252E367}"/>
          </ac:spMkLst>
        </pc:spChg>
        <pc:spChg chg="add mod">
          <ac:chgData name="Xiaomin Lu" userId="42419631-bd19-4e2d-8d0e-2a49042d0d37" providerId="ADAL" clId="{8C2EFFA7-1237-4F01-A972-E8BC4852791F}" dt="2024-03-26T05:02:59.520" v="1319" actId="20577"/>
          <ac:spMkLst>
            <pc:docMk/>
            <pc:sldMk cId="70275736" sldId="2147482152"/>
            <ac:spMk id="398" creationId="{282D6DFF-1D4F-2FF5-AE2C-73706F455432}"/>
          </ac:spMkLst>
        </pc:spChg>
        <pc:spChg chg="add mod">
          <ac:chgData name="Xiaomin Lu" userId="42419631-bd19-4e2d-8d0e-2a49042d0d37" providerId="ADAL" clId="{8C2EFFA7-1237-4F01-A972-E8BC4852791F}" dt="2024-03-26T05:02:53.798" v="1318" actId="3064"/>
          <ac:spMkLst>
            <pc:docMk/>
            <pc:sldMk cId="70275736" sldId="2147482152"/>
            <ac:spMk id="399" creationId="{025F7346-F343-204E-FBEC-4A9E26ED065C}"/>
          </ac:spMkLst>
        </pc:spChg>
        <pc:spChg chg="add mod">
          <ac:chgData name="Xiaomin Lu" userId="42419631-bd19-4e2d-8d0e-2a49042d0d37" providerId="ADAL" clId="{8C2EFFA7-1237-4F01-A972-E8BC4852791F}" dt="2024-03-26T05:02:50.821" v="1315" actId="3064"/>
          <ac:spMkLst>
            <pc:docMk/>
            <pc:sldMk cId="70275736" sldId="2147482152"/>
            <ac:spMk id="400" creationId="{2AFF0752-FD52-BBDE-08D0-6F8951291705}"/>
          </ac:spMkLst>
        </pc:spChg>
        <pc:spChg chg="add mod">
          <ac:chgData name="Xiaomin Lu" userId="42419631-bd19-4e2d-8d0e-2a49042d0d37" providerId="ADAL" clId="{8C2EFFA7-1237-4F01-A972-E8BC4852791F}" dt="2024-03-26T05:02:51.996" v="1316" actId="3064"/>
          <ac:spMkLst>
            <pc:docMk/>
            <pc:sldMk cId="70275736" sldId="2147482152"/>
            <ac:spMk id="401" creationId="{79F15B89-4646-2568-7247-A09971441369}"/>
          </ac:spMkLst>
        </pc:spChg>
        <pc:spChg chg="add mod">
          <ac:chgData name="Xiaomin Lu" userId="42419631-bd19-4e2d-8d0e-2a49042d0d37" providerId="ADAL" clId="{8C2EFFA7-1237-4F01-A972-E8BC4852791F}" dt="2024-03-26T05:02:45.303" v="1313" actId="3064"/>
          <ac:spMkLst>
            <pc:docMk/>
            <pc:sldMk cId="70275736" sldId="2147482152"/>
            <ac:spMk id="402" creationId="{54CE2E3C-C005-CA49-41A2-F76415F6F9C2}"/>
          </ac:spMkLst>
        </pc:spChg>
        <pc:spChg chg="add mod">
          <ac:chgData name="Xiaomin Lu" userId="42419631-bd19-4e2d-8d0e-2a49042d0d37" providerId="ADAL" clId="{8C2EFFA7-1237-4F01-A972-E8BC4852791F}" dt="2024-03-26T05:02:47.951" v="1314" actId="3064"/>
          <ac:spMkLst>
            <pc:docMk/>
            <pc:sldMk cId="70275736" sldId="2147482152"/>
            <ac:spMk id="403" creationId="{4E983914-BA8A-A77F-5B85-37DED9970FF9}"/>
          </ac:spMkLst>
        </pc:spChg>
        <pc:spChg chg="add mod">
          <ac:chgData name="Xiaomin Lu" userId="42419631-bd19-4e2d-8d0e-2a49042d0d37" providerId="ADAL" clId="{8C2EFFA7-1237-4F01-A972-E8BC4852791F}" dt="2024-03-26T04:56:10.315" v="1284" actId="1076"/>
          <ac:spMkLst>
            <pc:docMk/>
            <pc:sldMk cId="70275736" sldId="2147482152"/>
            <ac:spMk id="405" creationId="{1E9AF2DD-D964-859B-DCBD-1FA9F1EEE7AF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407" creationId="{D0BC1CFC-74B9-2B98-AEBD-C14C28FCB550}"/>
          </ac:spMkLst>
        </pc:spChg>
        <pc:spChg chg="mod">
          <ac:chgData name="Xiaomin Lu" userId="42419631-bd19-4e2d-8d0e-2a49042d0d37" providerId="ADAL" clId="{8C2EFFA7-1237-4F01-A972-E8BC4852791F}" dt="2024-03-26T04:50:08.088" v="1224" actId="1038"/>
          <ac:spMkLst>
            <pc:docMk/>
            <pc:sldMk cId="70275736" sldId="2147482152"/>
            <ac:spMk id="408" creationId="{26F03478-9525-CB69-BF65-60DB78CAA5FF}"/>
          </ac:spMkLst>
        </pc:spChg>
        <pc:grpChg chg="add del mod">
          <ac:chgData name="Xiaomin Lu" userId="42419631-bd19-4e2d-8d0e-2a49042d0d37" providerId="ADAL" clId="{8C2EFFA7-1237-4F01-A972-E8BC4852791F}" dt="2024-03-26T04:32:23.620" v="1120"/>
          <ac:grpSpMkLst>
            <pc:docMk/>
            <pc:sldMk cId="70275736" sldId="2147482152"/>
            <ac:grpSpMk id="5" creationId="{EB38074B-EC31-CEEC-BA3E-B56864FF95CC}"/>
          </ac:grpSpMkLst>
        </pc:grpChg>
        <pc:grpChg chg="mod">
          <ac:chgData name="Xiaomin Lu" userId="42419631-bd19-4e2d-8d0e-2a49042d0d37" providerId="ADAL" clId="{8C2EFFA7-1237-4F01-A972-E8BC4852791F}" dt="2024-03-26T04:32:17.902" v="1119"/>
          <ac:grpSpMkLst>
            <pc:docMk/>
            <pc:sldMk cId="70275736" sldId="2147482152"/>
            <ac:grpSpMk id="149" creationId="{DE4FC30A-0FE4-4902-467C-3B9C35116934}"/>
          </ac:grpSpMkLst>
        </pc:grpChg>
        <pc:grpChg chg="add del mod">
          <ac:chgData name="Xiaomin Lu" userId="42419631-bd19-4e2d-8d0e-2a49042d0d37" providerId="ADAL" clId="{8C2EFFA7-1237-4F01-A972-E8BC4852791F}" dt="2024-03-26T04:32:23.620" v="1120"/>
          <ac:grpSpMkLst>
            <pc:docMk/>
            <pc:sldMk cId="70275736" sldId="2147482152"/>
            <ac:grpSpMk id="171" creationId="{8B19FF69-842B-B807-551A-07333D71E2F9}"/>
          </ac:grpSpMkLst>
        </pc:grpChg>
        <pc:grpChg chg="add del mod">
          <ac:chgData name="Xiaomin Lu" userId="42419631-bd19-4e2d-8d0e-2a49042d0d37" providerId="ADAL" clId="{8C2EFFA7-1237-4F01-A972-E8BC4852791F}" dt="2024-03-26T04:32:23.620" v="1120"/>
          <ac:grpSpMkLst>
            <pc:docMk/>
            <pc:sldMk cId="70275736" sldId="2147482152"/>
            <ac:grpSpMk id="176" creationId="{FFD375BF-E9EE-455F-059A-6911603D8EBA}"/>
          </ac:grpSpMkLst>
        </pc:grpChg>
        <pc:grpChg chg="add del mod">
          <ac:chgData name="Xiaomin Lu" userId="42419631-bd19-4e2d-8d0e-2a49042d0d37" providerId="ADAL" clId="{8C2EFFA7-1237-4F01-A972-E8BC4852791F}" dt="2024-03-26T04:32:23.620" v="1120"/>
          <ac:grpSpMkLst>
            <pc:docMk/>
            <pc:sldMk cId="70275736" sldId="2147482152"/>
            <ac:grpSpMk id="180" creationId="{5BD0E74F-9D33-1019-6130-33711CD28481}"/>
          </ac:grpSpMkLst>
        </pc:grpChg>
        <pc:grpChg chg="add del mod">
          <ac:chgData name="Xiaomin Lu" userId="42419631-bd19-4e2d-8d0e-2a49042d0d37" providerId="ADAL" clId="{8C2EFFA7-1237-4F01-A972-E8BC4852791F}" dt="2024-03-26T04:32:23.620" v="1120"/>
          <ac:grpSpMkLst>
            <pc:docMk/>
            <pc:sldMk cId="70275736" sldId="2147482152"/>
            <ac:grpSpMk id="184" creationId="{50F81114-CF9D-FEE6-6E34-B98994EC323E}"/>
          </ac:grpSpMkLst>
        </pc:grpChg>
        <pc:grpChg chg="add del mod">
          <ac:chgData name="Xiaomin Lu" userId="42419631-bd19-4e2d-8d0e-2a49042d0d37" providerId="ADAL" clId="{8C2EFFA7-1237-4F01-A972-E8BC4852791F}" dt="2024-03-26T04:32:23.620" v="1120"/>
          <ac:grpSpMkLst>
            <pc:docMk/>
            <pc:sldMk cId="70275736" sldId="2147482152"/>
            <ac:grpSpMk id="204" creationId="{A7AC7004-741B-5C48-2731-37487C0943F2}"/>
          </ac:grpSpMkLst>
        </pc:grpChg>
        <pc:grpChg chg="add mod">
          <ac:chgData name="Xiaomin Lu" userId="42419631-bd19-4e2d-8d0e-2a49042d0d37" providerId="ADAL" clId="{8C2EFFA7-1237-4F01-A972-E8BC4852791F}" dt="2024-03-26T04:57:39.470" v="1290" actId="1076"/>
          <ac:grpSpMkLst>
            <pc:docMk/>
            <pc:sldMk cId="70275736" sldId="2147482152"/>
            <ac:grpSpMk id="207" creationId="{15721EC1-1548-63DE-83A9-9DF0A84F9631}"/>
          </ac:grpSpMkLst>
        </pc:grpChg>
        <pc:grpChg chg="mod">
          <ac:chgData name="Xiaomin Lu" userId="42419631-bd19-4e2d-8d0e-2a49042d0d37" providerId="ADAL" clId="{8C2EFFA7-1237-4F01-A972-E8BC4852791F}" dt="2024-03-26T04:57:39.470" v="1290" actId="1076"/>
          <ac:grpSpMkLst>
            <pc:docMk/>
            <pc:sldMk cId="70275736" sldId="2147482152"/>
            <ac:grpSpMk id="351" creationId="{88570DAC-4335-6768-4AA7-FBF030B00E1C}"/>
          </ac:grpSpMkLst>
        </pc:grpChg>
        <pc:grpChg chg="add mod">
          <ac:chgData name="Xiaomin Lu" userId="42419631-bd19-4e2d-8d0e-2a49042d0d37" providerId="ADAL" clId="{8C2EFFA7-1237-4F01-A972-E8BC4852791F}" dt="2024-03-26T05:03:30.001" v="1324" actId="1076"/>
          <ac:grpSpMkLst>
            <pc:docMk/>
            <pc:sldMk cId="70275736" sldId="2147482152"/>
            <ac:grpSpMk id="373" creationId="{4CD2390F-A732-3DC0-79C4-A674B4F5D5A3}"/>
          </ac:grpSpMkLst>
        </pc:grpChg>
        <pc:grpChg chg="add mod">
          <ac:chgData name="Xiaomin Lu" userId="42419631-bd19-4e2d-8d0e-2a49042d0d37" providerId="ADAL" clId="{8C2EFFA7-1237-4F01-A972-E8BC4852791F}" dt="2024-03-26T05:01:36.748" v="1296" actId="1076"/>
          <ac:grpSpMkLst>
            <pc:docMk/>
            <pc:sldMk cId="70275736" sldId="2147482152"/>
            <ac:grpSpMk id="378" creationId="{C6808920-8BC6-FDA1-783A-4017F5006EF7}"/>
          </ac:grpSpMkLst>
        </pc:grpChg>
        <pc:grpChg chg="add mod">
          <ac:chgData name="Xiaomin Lu" userId="42419631-bd19-4e2d-8d0e-2a49042d0d37" providerId="ADAL" clId="{8C2EFFA7-1237-4F01-A972-E8BC4852791F}" dt="2024-03-26T05:03:52.639" v="1325" actId="1076"/>
          <ac:grpSpMkLst>
            <pc:docMk/>
            <pc:sldMk cId="70275736" sldId="2147482152"/>
            <ac:grpSpMk id="382" creationId="{136DEB5E-5E68-ED36-D0E2-EBAC2C9BD429}"/>
          </ac:grpSpMkLst>
        </pc:grpChg>
        <pc:grpChg chg="add mod">
          <ac:chgData name="Xiaomin Lu" userId="42419631-bd19-4e2d-8d0e-2a49042d0d37" providerId="ADAL" clId="{8C2EFFA7-1237-4F01-A972-E8BC4852791F}" dt="2024-03-26T04:56:39.328" v="1285" actId="1076"/>
          <ac:grpSpMkLst>
            <pc:docMk/>
            <pc:sldMk cId="70275736" sldId="2147482152"/>
            <ac:grpSpMk id="386" creationId="{669E6E4A-B0B6-6FBF-932F-4BC0967F34A9}"/>
          </ac:grpSpMkLst>
        </pc:grpChg>
        <pc:grpChg chg="add mod">
          <ac:chgData name="Xiaomin Lu" userId="42419631-bd19-4e2d-8d0e-2a49042d0d37" providerId="ADAL" clId="{8C2EFFA7-1237-4F01-A972-E8BC4852791F}" dt="2024-03-26T04:56:10.315" v="1284" actId="1076"/>
          <ac:grpSpMkLst>
            <pc:docMk/>
            <pc:sldMk cId="70275736" sldId="2147482152"/>
            <ac:grpSpMk id="406" creationId="{D2E526B0-68CB-0CE1-285C-8DC6D9BEE498}"/>
          </ac:grpSpMkLst>
        </pc:grpChg>
        <pc:graphicFrameChg chg="del">
          <ac:chgData name="Xiaomin Lu" userId="42419631-bd19-4e2d-8d0e-2a49042d0d37" providerId="ADAL" clId="{8C2EFFA7-1237-4F01-A972-E8BC4852791F}" dt="2024-03-26T04:32:17.607" v="1118" actId="478"/>
          <ac:graphicFrameMkLst>
            <pc:docMk/>
            <pc:sldMk cId="70275736" sldId="2147482152"/>
            <ac:graphicFrameMk id="4" creationId="{A4E42C46-3083-19E3-D111-210F42CA16BC}"/>
          </ac:graphicFrameMkLst>
        </pc:graphicFrameChg>
        <pc:cxnChg chg="add del mod">
          <ac:chgData name="Xiaomin Lu" userId="42419631-bd19-4e2d-8d0e-2a49042d0d37" providerId="ADAL" clId="{8C2EFFA7-1237-4F01-A972-E8BC4852791F}" dt="2024-03-26T04:32:23.620" v="1120"/>
          <ac:cxnSpMkLst>
            <pc:docMk/>
            <pc:sldMk cId="70275736" sldId="2147482152"/>
            <ac:cxnSpMk id="187" creationId="{55FA44B9-3666-6D13-5D1B-C4F4F529DAFB}"/>
          </ac:cxnSpMkLst>
        </pc:cxnChg>
        <pc:cxnChg chg="add del mod">
          <ac:chgData name="Xiaomin Lu" userId="42419631-bd19-4e2d-8d0e-2a49042d0d37" providerId="ADAL" clId="{8C2EFFA7-1237-4F01-A972-E8BC4852791F}" dt="2024-03-26T04:32:23.620" v="1120"/>
          <ac:cxnSpMkLst>
            <pc:docMk/>
            <pc:sldMk cId="70275736" sldId="2147482152"/>
            <ac:cxnSpMk id="188" creationId="{B3684537-F180-01EE-E841-D2B132D63FD4}"/>
          </ac:cxnSpMkLst>
        </pc:cxnChg>
        <pc:cxnChg chg="add del mod">
          <ac:chgData name="Xiaomin Lu" userId="42419631-bd19-4e2d-8d0e-2a49042d0d37" providerId="ADAL" clId="{8C2EFFA7-1237-4F01-A972-E8BC4852791F}" dt="2024-03-26T04:32:23.620" v="1120"/>
          <ac:cxnSpMkLst>
            <pc:docMk/>
            <pc:sldMk cId="70275736" sldId="2147482152"/>
            <ac:cxnSpMk id="189" creationId="{7F6AB29F-390C-19C4-BE7F-1572D148DB70}"/>
          </ac:cxnSpMkLst>
        </pc:cxnChg>
        <pc:cxnChg chg="add del mod">
          <ac:chgData name="Xiaomin Lu" userId="42419631-bd19-4e2d-8d0e-2a49042d0d37" providerId="ADAL" clId="{8C2EFFA7-1237-4F01-A972-E8BC4852791F}" dt="2024-03-26T04:32:23.620" v="1120"/>
          <ac:cxnSpMkLst>
            <pc:docMk/>
            <pc:sldMk cId="70275736" sldId="2147482152"/>
            <ac:cxnSpMk id="190" creationId="{FF4EAF8F-84F8-2A7C-48C6-E05EFD3AE628}"/>
          </ac:cxnSpMkLst>
        </pc:cxnChg>
        <pc:cxnChg chg="add del mod">
          <ac:chgData name="Xiaomin Lu" userId="42419631-bd19-4e2d-8d0e-2a49042d0d37" providerId="ADAL" clId="{8C2EFFA7-1237-4F01-A972-E8BC4852791F}" dt="2024-03-26T04:32:23.620" v="1120"/>
          <ac:cxnSpMkLst>
            <pc:docMk/>
            <pc:sldMk cId="70275736" sldId="2147482152"/>
            <ac:cxnSpMk id="191" creationId="{9A1DD79B-51DA-D87D-5C6A-0A4837D4600E}"/>
          </ac:cxnSpMkLst>
        </pc:cxnChg>
        <pc:cxnChg chg="add del mod">
          <ac:chgData name="Xiaomin Lu" userId="42419631-bd19-4e2d-8d0e-2a49042d0d37" providerId="ADAL" clId="{8C2EFFA7-1237-4F01-A972-E8BC4852791F}" dt="2024-03-26T04:32:23.620" v="1120"/>
          <ac:cxnSpMkLst>
            <pc:docMk/>
            <pc:sldMk cId="70275736" sldId="2147482152"/>
            <ac:cxnSpMk id="202" creationId="{C9183371-A9DA-CEA7-02FA-D5BBC1A9CED2}"/>
          </ac:cxnSpMkLst>
        </pc:cxnChg>
        <pc:cxnChg chg="add del mod">
          <ac:chgData name="Xiaomin Lu" userId="42419631-bd19-4e2d-8d0e-2a49042d0d37" providerId="ADAL" clId="{8C2EFFA7-1237-4F01-A972-E8BC4852791F}" dt="2024-03-26T04:32:29.506" v="1122" actId="478"/>
          <ac:cxnSpMkLst>
            <pc:docMk/>
            <pc:sldMk cId="70275736" sldId="2147482152"/>
            <ac:cxnSpMk id="389" creationId="{7DE5D26D-7758-F562-12ED-4BD3C318BFC8}"/>
          </ac:cxnSpMkLst>
        </pc:cxnChg>
        <pc:cxnChg chg="add mod">
          <ac:chgData name="Xiaomin Lu" userId="42419631-bd19-4e2d-8d0e-2a49042d0d37" providerId="ADAL" clId="{8C2EFFA7-1237-4F01-A972-E8BC4852791F}" dt="2024-03-26T04:32:25.661" v="1121"/>
          <ac:cxnSpMkLst>
            <pc:docMk/>
            <pc:sldMk cId="70275736" sldId="2147482152"/>
            <ac:cxnSpMk id="390" creationId="{663C141D-B852-B5BE-6069-06C90AC539E3}"/>
          </ac:cxnSpMkLst>
        </pc:cxnChg>
        <pc:cxnChg chg="add mod">
          <ac:chgData name="Xiaomin Lu" userId="42419631-bd19-4e2d-8d0e-2a49042d0d37" providerId="ADAL" clId="{8C2EFFA7-1237-4F01-A972-E8BC4852791F}" dt="2024-03-26T04:50:08.088" v="1224" actId="1038"/>
          <ac:cxnSpMkLst>
            <pc:docMk/>
            <pc:sldMk cId="70275736" sldId="2147482152"/>
            <ac:cxnSpMk id="391" creationId="{D1A5299E-6035-5E34-5828-86C3DD4DE860}"/>
          </ac:cxnSpMkLst>
        </pc:cxnChg>
        <pc:cxnChg chg="add mod">
          <ac:chgData name="Xiaomin Lu" userId="42419631-bd19-4e2d-8d0e-2a49042d0d37" providerId="ADAL" clId="{8C2EFFA7-1237-4F01-A972-E8BC4852791F}" dt="2024-03-26T04:50:08.088" v="1224" actId="1038"/>
          <ac:cxnSpMkLst>
            <pc:docMk/>
            <pc:sldMk cId="70275736" sldId="2147482152"/>
            <ac:cxnSpMk id="392" creationId="{2886053D-DA47-F0EA-529A-349FDEE704CA}"/>
          </ac:cxnSpMkLst>
        </pc:cxnChg>
        <pc:cxnChg chg="add mod">
          <ac:chgData name="Xiaomin Lu" userId="42419631-bd19-4e2d-8d0e-2a49042d0d37" providerId="ADAL" clId="{8C2EFFA7-1237-4F01-A972-E8BC4852791F}" dt="2024-03-26T04:50:08.088" v="1224" actId="1038"/>
          <ac:cxnSpMkLst>
            <pc:docMk/>
            <pc:sldMk cId="70275736" sldId="2147482152"/>
            <ac:cxnSpMk id="393" creationId="{E9952821-3201-4D89-21F0-431D6EEECFBF}"/>
          </ac:cxnSpMkLst>
        </pc:cxnChg>
        <pc:cxnChg chg="add mod">
          <ac:chgData name="Xiaomin Lu" userId="42419631-bd19-4e2d-8d0e-2a49042d0d37" providerId="ADAL" clId="{8C2EFFA7-1237-4F01-A972-E8BC4852791F}" dt="2024-03-26T04:50:08.088" v="1224" actId="1038"/>
          <ac:cxnSpMkLst>
            <pc:docMk/>
            <pc:sldMk cId="70275736" sldId="2147482152"/>
            <ac:cxnSpMk id="404" creationId="{9896157E-333A-A016-33F6-004BDF4670BA}"/>
          </ac:cxnSpMkLst>
        </pc:cxnChg>
        <pc:cxnChg chg="add mod">
          <ac:chgData name="Xiaomin Lu" userId="42419631-bd19-4e2d-8d0e-2a49042d0d37" providerId="ADAL" clId="{8C2EFFA7-1237-4F01-A972-E8BC4852791F}" dt="2024-03-26T04:49:20.813" v="1208" actId="1035"/>
          <ac:cxnSpMkLst>
            <pc:docMk/>
            <pc:sldMk cId="70275736" sldId="2147482152"/>
            <ac:cxnSpMk id="413" creationId="{A3BB1FD0-EFE8-D747-7F0B-B49F0EAA2542}"/>
          </ac:cxnSpMkLst>
        </pc:cxnChg>
      </pc:sldChg>
      <pc:sldChg chg="modSp mod">
        <pc:chgData name="Xiaomin Lu" userId="42419631-bd19-4e2d-8d0e-2a49042d0d37" providerId="ADAL" clId="{8C2EFFA7-1237-4F01-A972-E8BC4852791F}" dt="2024-03-26T22:00:26.691" v="2943" actId="5793"/>
        <pc:sldMkLst>
          <pc:docMk/>
          <pc:sldMk cId="896328540" sldId="2147482153"/>
        </pc:sldMkLst>
        <pc:spChg chg="mod">
          <ac:chgData name="Xiaomin Lu" userId="42419631-bd19-4e2d-8d0e-2a49042d0d37" providerId="ADAL" clId="{8C2EFFA7-1237-4F01-A972-E8BC4852791F}" dt="2024-03-26T21:59:43.182" v="2938" actId="255"/>
          <ac:spMkLst>
            <pc:docMk/>
            <pc:sldMk cId="896328540" sldId="2147482153"/>
            <ac:spMk id="6" creationId="{510115AE-5655-3A51-62AA-B1DDA09F3992}"/>
          </ac:spMkLst>
        </pc:spChg>
        <pc:spChg chg="mod">
          <ac:chgData name="Xiaomin Lu" userId="42419631-bd19-4e2d-8d0e-2a49042d0d37" providerId="ADAL" clId="{8C2EFFA7-1237-4F01-A972-E8BC4852791F}" dt="2024-03-26T22:00:26.691" v="2943" actId="5793"/>
          <ac:spMkLst>
            <pc:docMk/>
            <pc:sldMk cId="896328540" sldId="2147482153"/>
            <ac:spMk id="8" creationId="{AD54E348-79BD-D392-EBB6-0A29A76DDE01}"/>
          </ac:spMkLst>
        </pc:spChg>
      </pc:sldChg>
      <pc:sldChg chg="addSp delSp modSp add del mod">
        <pc:chgData name="Xiaomin Lu" userId="42419631-bd19-4e2d-8d0e-2a49042d0d37" providerId="ADAL" clId="{8C2EFFA7-1237-4F01-A972-E8BC4852791F}" dt="2024-03-26T04:54:55.056" v="1280" actId="47"/>
        <pc:sldMkLst>
          <pc:docMk/>
          <pc:sldMk cId="2153145050" sldId="2147482153"/>
        </pc:sldMkLst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" creationId="{7E325DA1-FEF7-B9A6-F655-0C883A4F400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6" creationId="{2957A34C-FB9B-B86B-1F4C-65FC9910E10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7" creationId="{08B1A9AD-5F33-B5E9-0B3D-1B7AE124887C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8" creationId="{53F95208-6683-2497-4A72-1BAC4DB2EADF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9" creationId="{CF8F9698-8EE2-1CC3-0C9B-0B17381DD205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0" creationId="{26944A3A-0637-1E6D-075F-D3DB5D32C8B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1" creationId="{9FD31EEE-125F-D8B2-0599-C7562F128BD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2" creationId="{5B9DD7A7-A025-0BE8-82B9-653532F1F956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3" creationId="{3F7BA6F7-399D-F3AC-99E1-747182886FF3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4" creationId="{68F67FEC-E259-BB47-24CB-042D4C8C747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5" creationId="{6F9CB26A-E816-3EEA-C03A-18631F790A5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6" creationId="{441AC7D5-1D6A-C25C-9A3E-6CED8243C56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7" creationId="{2A88673A-5A6F-7707-F8E3-5E544064FB2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8" creationId="{69CEE7A8-709B-5EE9-C174-CAF7DC54E4A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9" creationId="{25BF19FA-614B-5F68-14C8-01FE5DB9A0B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0" creationId="{0D5E776F-F49B-1703-981C-3586B2B1F16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1" creationId="{FC2ED7D0-ECBB-D779-3678-C84FB84B26B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2" creationId="{5FE43A4A-619A-6431-44A7-57823CA2C03C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3" creationId="{81730639-DC5E-7F25-CD1C-5AF422555EC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4" creationId="{836D7219-1062-1A22-57A8-B4922FF9E7B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5" creationId="{CF1992B1-0040-6614-84BC-F8CB3CC0DB0F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6" creationId="{A1CA090B-C64B-0F53-ECC1-6AB2FF676747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7" creationId="{7EE60F9C-D202-C857-6DC0-F3F48405E8C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8" creationId="{20E61E6B-3AD6-35CB-57B3-05E92B4CC4B2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9" creationId="{7ED5694A-96B1-923C-6FFF-06D5C8C80AC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30" creationId="{09912FD6-2294-227F-1FB3-7E03081E903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31" creationId="{8D23C1FD-40D8-1419-A5D2-BDA0611D41DF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92" creationId="{3E619398-7C5D-6C8D-4569-D06CB12DCD6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93" creationId="{356368B1-D194-5C50-7273-80D84749A925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94" creationId="{E345D105-A679-9D32-6E00-A475830D168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95" creationId="{FDF0ECE1-E381-5BD1-E826-41F5F973F99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96" creationId="{BE45381B-7E5A-A8CF-E97F-54E55D928897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97" creationId="{60B800CC-0D63-850F-EBBE-1EC9A50C740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98" creationId="{E0C248FA-5A51-AA2B-B9B0-A7F4A6F61EC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199" creationId="{6007425B-C5FC-D35B-55D4-F5D8C6F3A4D7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00" creationId="{4907D77F-2C65-0023-183E-0A4733B6A083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01" creationId="{8855A214-BF4D-5958-2517-D25E41E5E3B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02" creationId="{E1A75184-58DD-65E7-FFCD-61387E89262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03" creationId="{2BCEB87E-77DF-E24F-E810-61870A63C7F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04" creationId="{8BCF0FB3-1E52-E967-EC60-0820AB7F45EC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05" creationId="{B99D260D-E488-180B-E376-A7A3430780B7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206" creationId="{E52ABDE8-9821-31C0-E117-A6B06D9436C0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72" creationId="{C8D3DF26-62FE-7EB3-64C2-506A2F4EA573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77" creationId="{E9FF7EF9-E347-113C-64CC-C3ADBA095E37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81" creationId="{5832D56D-4916-FE22-4754-DFD108DDB660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85" creationId="{2D8B49D8-6234-2BD3-9EF4-3472CD68F72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389" creationId="{B9C42582-5847-B2FD-05FB-B9BA718F6C50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94" creationId="{A53A88F1-B1C8-CC0B-8E0E-6C37074DCDA3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95" creationId="{D9E9F25F-A298-5E16-7AD9-3E53DEFC4DD7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96" creationId="{CAEA1D50-06AE-AED6-B894-68843D202B27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97" creationId="{B77B123B-5E06-F552-AC48-3EAE9252E367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98" creationId="{282D6DFF-1D4F-2FF5-AE2C-73706F455432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399" creationId="{025F7346-F343-204E-FBEC-4A9E26ED065C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400" creationId="{2AFF0752-FD52-BBDE-08D0-6F8951291705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401" creationId="{79F15B89-4646-2568-7247-A09971441369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402" creationId="{54CE2E3C-C005-CA49-41A2-F76415F6F9C2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403" creationId="{4E983914-BA8A-A77F-5B85-37DED9970FF9}"/>
          </ac:spMkLst>
        </pc:spChg>
        <pc:spChg chg="del">
          <ac:chgData name="Xiaomin Lu" userId="42419631-bd19-4e2d-8d0e-2a49042d0d37" providerId="ADAL" clId="{8C2EFFA7-1237-4F01-A972-E8BC4852791F}" dt="2024-03-26T04:53:15.228" v="1254" actId="478"/>
          <ac:spMkLst>
            <pc:docMk/>
            <pc:sldMk cId="2153145050" sldId="2147482153"/>
            <ac:spMk id="405" creationId="{1E9AF2DD-D964-859B-DCBD-1FA9F1EEE7AF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09" creationId="{0BAAD709-C71F-15BD-0F1A-35C1BDAFED4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10" creationId="{4887D859-E7CD-522E-B426-980E9590DD47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11" creationId="{E2AA7D23-EE10-508E-DEB6-F00653DD3AA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12" creationId="{0BC4147E-170B-0151-E20D-585A13DAC80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14" creationId="{F8CC5D6B-7C84-4133-7514-4F135DBDFFF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15" creationId="{AFE34F98-9A48-2621-8463-F74784EE9BB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16" creationId="{3ECCE8E5-7ADF-60A9-49B2-1F5D0718326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17" creationId="{85EE705A-161B-C8D1-0878-7D200F69052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18" creationId="{103B3068-4E06-120B-A55C-410455493BE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19" creationId="{C284879C-4444-428A-C3BF-0184E02FB81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0" creationId="{7654A1BE-9C49-69FF-8737-240DD23FC23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1" creationId="{5A1A08D9-DBAE-190B-B1F9-B22CF2CC5F05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2" creationId="{599C70C2-684A-F289-5B2E-BAA790DCA3E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3" creationId="{7BDB396A-1FF7-57BB-45D5-765E08A0E621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4" creationId="{AD4B92B2-452C-7D4B-069A-A78E7B2819C5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5" creationId="{D091C913-15F8-EC1F-503D-7FC0F627CDA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6" creationId="{91E5549B-472D-73C6-C5EF-4807CCFE3E1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7" creationId="{DA0165AD-1192-2BD6-071E-FA49DF1D043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8" creationId="{3071FA58-CCE9-2832-07A1-578871A53B92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29" creationId="{579E79F3-4C75-4D22-9669-58249E26DD8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0" creationId="{94A2C01A-C341-BE1B-1D0C-BC04E28E06A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1" creationId="{865229B3-9921-3A97-D110-688C48DE9587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2" creationId="{E2EA07D7-2DA6-E680-5F5B-FDD69C4D0FB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3" creationId="{AD9D222D-5919-0D63-9BAC-626A87062B2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4" creationId="{A0028C9F-5D40-DBDA-9AAD-C3D616B12622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5" creationId="{9B67515A-97DE-0192-2639-87D81CA19B43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6" creationId="{576FE129-60DC-EB84-3B6C-34CEDB0EE8E6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7" creationId="{21DC5E77-5CDA-8DB9-7950-592B5A0AB6BF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8" creationId="{717F092F-55AA-B2BD-724F-18BA63E53DD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39" creationId="{6A95B66F-93E3-E7BD-1C9A-79A25D5D64D6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0" creationId="{68D92EA0-B991-607C-0409-8AC5EE4D6B5C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1" creationId="{7C547E7F-5530-C529-FF96-418F38BCE7B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2" creationId="{AF0155EF-4D35-E1FA-8CCA-5F690B30CEA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3" creationId="{CEE551F6-A00C-D6C3-3F80-1DC86A24B751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4" creationId="{C50CB324-4D4F-9269-CB56-7EBEAC3977A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5" creationId="{5064EDD3-3688-A046-F9F8-457C0751152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6" creationId="{826D657F-C93B-AF06-EC48-117B13DCFB4F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7" creationId="{C5A1EB51-0A7F-A102-4200-8FC98452655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8" creationId="{3A729103-21BD-F296-64B6-4E8AABBA891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49" creationId="{089D2461-6364-D9DC-0485-A9F797326A12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0" creationId="{6D5CF28D-A0FF-79D4-AC93-4BF87AF867F1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1" creationId="{10E5F498-0678-F799-2466-F31E85467E0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2" creationId="{264E0CFF-6686-3DA7-A7FE-2827F90BCD92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3" creationId="{F467E6AA-F791-A043-9FFE-4CC25467BB7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4" creationId="{B44BD5A0-AAA1-39D7-8EE9-DEB406A4A1A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5" creationId="{D0F334DC-DE46-BAEE-7FB7-008B33583FE6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6" creationId="{E5941322-707D-4C8C-6338-9F4A3DC1937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7" creationId="{EB082133-144B-9F1B-AD24-7B6D80D62B6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8" creationId="{835DED01-C061-F05C-E986-6A4308BBBB4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59" creationId="{20B0C90F-8E90-F73F-AB48-DD827458E68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0" creationId="{D9FC535A-5949-184A-3604-C03E07393AA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1" creationId="{8C637E2E-C52B-A98F-D762-60B3C45E5AB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2" creationId="{4250C795-077D-24A4-70C0-3BA2BEE8FCA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3" creationId="{AAAB8BAB-81DC-F103-B137-4245DE6F0F6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4" creationId="{5AA5091E-58EB-BBCC-422E-A9761C885FA2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5" creationId="{D12C7BFB-31E9-8E1E-0561-80B433DAF201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6" creationId="{FEDEC0D4-9476-E539-2C72-68E31A4C443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7" creationId="{6F2A477B-EAC5-4842-CB1F-513B1FF4D76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8" creationId="{36FDD4B3-A433-4824-DDC8-7532D602B82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69" creationId="{9162FCF1-E403-6D66-B9CF-1A3106B631E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0" creationId="{802F71BD-97A9-1967-30FC-0D72D5ED27D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1" creationId="{034E1A91-7F0A-D7C0-5E04-BF6305D0CDB2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2" creationId="{379407C9-7666-D2E9-542F-49ED8738C99C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3" creationId="{58F90680-6215-E8CE-B0C8-789013BA0E1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4" creationId="{968BF1CA-FD9F-B6BF-2003-AF7D5E34E113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5" creationId="{4BBA4E5B-894C-12C0-11B7-D32F5086605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6" creationId="{3F6404E2-F2F6-BA54-623A-E82B1C6DDFB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7" creationId="{77D9D60D-5007-D8AD-626C-1A412726858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8" creationId="{AB156B2F-D1E3-FFA6-F033-A2F2EE7427F3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79" creationId="{18382C78-D5F7-E924-D0A1-7A51D52B3F93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0" creationId="{0D759384-F806-185D-7378-A8688612C05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1" creationId="{D31927F8-08BB-4823-0D25-1AB5FFE568E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2" creationId="{724310F3-FB0F-C793-6C56-026CAD7B4F66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3" creationId="{303C5348-B7A6-6A2E-41E6-31D5632498D1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4" creationId="{1372A791-430D-BF5B-767B-E4D66581345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5" creationId="{F8499E2A-0144-EAB3-D126-8DB7F0F9D8D6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6" creationId="{D39CF139-9689-5510-9924-9EBCD86AE92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7" creationId="{B45A145A-E9CF-BE49-1B33-BD5432027F9F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8" creationId="{6EB7297F-9C2D-7538-B8B8-4BCA434792A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89" creationId="{F4AC3E8B-E35B-1F65-8E14-3FBA5D00511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0" creationId="{ED23A6D9-2B64-A607-C9DA-562B864EF48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1" creationId="{137B4EA2-C33A-A15C-7B9E-A3A03CC3033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2" creationId="{087C2D14-3691-9063-EBF3-63117976E665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3" creationId="{E9440B37-6ECD-B8E5-A0A2-FEC7CA9FE20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4" creationId="{EADEB8C1-B1A0-AB9B-C362-B292F0AC959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5" creationId="{5BF6A640-52D1-E08B-BAD3-9F4BCD69CD1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6" creationId="{FC47282B-5DA4-3B9D-819A-C783CB53C4F7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7" creationId="{E80B156C-E0A2-BF8D-DD1C-F7D73C68BA9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8" creationId="{86CAEF33-BB9F-3E64-3AFE-3BB9E4983163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499" creationId="{6AAA36E2-A7CA-11B2-1D85-2C13E831E66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0" creationId="{79397E14-6F79-520D-0C42-3C660FB88F8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1" creationId="{80CE716A-22F4-3706-AA27-0A66344D7CA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2" creationId="{10A1DA42-A295-A5B0-061F-3B3D1BD136D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3" creationId="{993D24CF-1C32-4742-9B2E-8BD6039E4C37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4" creationId="{659C6EB9-6B11-7119-C4A7-FE9327EB494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5" creationId="{C8C32A81-30D7-1641-2970-54D88E47334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6" creationId="{858DA369-D7E4-30AE-6A6D-C08BB65F7B0C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7" creationId="{BFC87029-EF00-4411-AD49-8276ADAF51DD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8" creationId="{20CC9BC8-FAAF-7379-F586-E99B583A9F7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09" creationId="{FA41AF8A-D5C4-ADA8-3023-2C976AD91FEC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11" creationId="{7A2ECF99-8861-C147-A030-BD6057147B1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12" creationId="{4D399EAA-411D-32D9-7260-3B73403A246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13" creationId="{920F342C-1D23-033D-4953-3F069EDFD15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14" creationId="{A5A10AE0-B889-583E-042B-197FC076E879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15" creationId="{3E03E51F-ABBC-8D18-2CF0-069A5E6F571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16" creationId="{75DD856B-CA5D-67A9-B148-DD57DBFDDCF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17" creationId="{ECEE9158-E7E4-DEC9-56EA-693510E94B53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18" creationId="{3DC59BDC-447C-5908-0510-617A8E914F3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19" creationId="{2FB349BF-698F-9E78-0BC6-0E45DF9C702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0" creationId="{C41C2BB5-A3FD-0056-C5B9-E363C87CBB8C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1" creationId="{BFF75FD1-E8A0-F555-2F10-942B80E9D913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2" creationId="{890569B2-000D-C89C-09D9-ABE3B18D14B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3" creationId="{4463FFD0-88E2-20E8-CD51-E0B628B71DE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4" creationId="{4FF91852-47DE-5E5E-141F-B3DF49D65A02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5" creationId="{52318A77-642B-A994-F531-0CF79BDD2B5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6" creationId="{7B167AAC-9A61-F276-CCF9-D357452C8BE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7" creationId="{28A7F5E9-7A41-6FF1-BC66-C00AF4999B87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8" creationId="{8DEB38AA-C74F-9AA9-7433-F823425D712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29" creationId="{51422783-7B80-3A66-9D3E-B1A5F7C8C9D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30" creationId="{8D2A22BC-4AFC-E567-8ABC-D8317DB0B767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31" creationId="{DCDA0066-ABB1-337D-FDE1-19DDF1EE7DA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33" creationId="{9CC98A59-866F-41DA-E6CC-E6E5F53465C8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34" creationId="{9DD034E7-3845-3772-00B9-FC47E69E1A60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35" creationId="{3C775577-0577-98EE-9283-54C258922186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36" creationId="{EA643D92-8F91-4422-7655-1DDBC7D2A361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38" creationId="{0EF1958E-F04E-E959-D339-81779886731A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39" creationId="{1CFE96AA-EFB8-2644-0056-D238DC8ACA05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40" creationId="{BDAFF033-1059-6DDF-8FA6-71038D65C3B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42" creationId="{90CC402B-37FD-E8B4-1D8A-30464CF82B8B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43" creationId="{6E7373E7-B174-AC58-D9F2-C260CE4AD6D7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44" creationId="{A1D4368C-1A92-B98D-17D1-843E0BF41E9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46" creationId="{B6F42E1C-0420-7AA0-4B46-50AB8F147135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47" creationId="{0EBBCF0A-CE60-89BA-CE13-D1CF81BE11B9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53" creationId="{EB1CE717-B4F4-91C0-94D7-8A3AA3289999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54" creationId="{C813D674-3EF9-DDB6-EE5F-9170BE53B4BD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55" creationId="{03A11698-40DF-5A2F-7E3A-13EFB6D59664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56" creationId="{DD108745-A801-4E33-CEE7-83427E2C390C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57" creationId="{002E8D99-186D-597B-DB2A-36934E2D7094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58" creationId="{0384F0BE-FBDC-57A3-760A-6708EA9B11A7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59" creationId="{A9C38C6F-C85F-2F6A-834D-63E98DDA29F1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60" creationId="{89BEEC28-60D2-16F4-5DC8-AEAE1A42695C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61" creationId="{C9C112B7-852B-80AB-731E-D7995B020E5C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62" creationId="{4FE8F43D-7D02-5695-CA90-0D8F8457597F}"/>
          </ac:spMkLst>
        </pc:spChg>
        <pc:spChg chg="add 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64" creationId="{F6A52813-9748-6115-8FF0-294C5B720734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66" creationId="{1F684CC9-045B-EA46-79BE-A14E14958C6E}"/>
          </ac:spMkLst>
        </pc:spChg>
        <pc:spChg chg="mod">
          <ac:chgData name="Xiaomin Lu" userId="42419631-bd19-4e2d-8d0e-2a49042d0d37" providerId="ADAL" clId="{8C2EFFA7-1237-4F01-A972-E8BC4852791F}" dt="2024-03-26T04:54:48.069" v="1279" actId="1035"/>
          <ac:spMkLst>
            <pc:docMk/>
            <pc:sldMk cId="2153145050" sldId="2147482153"/>
            <ac:spMk id="567" creationId="{92D9CB24-8A74-7BE7-F29C-BD064BA4EA86}"/>
          </ac:spMkLst>
        </pc:spChg>
        <pc:grpChg chg="add mod">
          <ac:chgData name="Xiaomin Lu" userId="42419631-bd19-4e2d-8d0e-2a49042d0d37" providerId="ADAL" clId="{8C2EFFA7-1237-4F01-A972-E8BC4852791F}" dt="2024-03-26T04:54:48.069" v="1279" actId="1035"/>
          <ac:grpSpMkLst>
            <pc:docMk/>
            <pc:sldMk cId="2153145050" sldId="2147482153"/>
            <ac:grpSpMk id="4" creationId="{6837929B-32C2-16AA-EF56-C715948E1BB8}"/>
          </ac:grpSpMkLst>
        </pc:grpChg>
        <pc:grpChg chg="del">
          <ac:chgData name="Xiaomin Lu" userId="42419631-bd19-4e2d-8d0e-2a49042d0d37" providerId="ADAL" clId="{8C2EFFA7-1237-4F01-A972-E8BC4852791F}" dt="2024-03-26T04:53:15.228" v="1254" actId="478"/>
          <ac:grpSpMkLst>
            <pc:docMk/>
            <pc:sldMk cId="2153145050" sldId="2147482153"/>
            <ac:grpSpMk id="207" creationId="{15721EC1-1548-63DE-83A9-9DF0A84F9631}"/>
          </ac:grpSpMkLst>
        </pc:grpChg>
        <pc:grpChg chg="del">
          <ac:chgData name="Xiaomin Lu" userId="42419631-bd19-4e2d-8d0e-2a49042d0d37" providerId="ADAL" clId="{8C2EFFA7-1237-4F01-A972-E8BC4852791F}" dt="2024-03-26T04:53:15.228" v="1254" actId="478"/>
          <ac:grpSpMkLst>
            <pc:docMk/>
            <pc:sldMk cId="2153145050" sldId="2147482153"/>
            <ac:grpSpMk id="373" creationId="{4CD2390F-A732-3DC0-79C4-A674B4F5D5A3}"/>
          </ac:grpSpMkLst>
        </pc:grpChg>
        <pc:grpChg chg="del">
          <ac:chgData name="Xiaomin Lu" userId="42419631-bd19-4e2d-8d0e-2a49042d0d37" providerId="ADAL" clId="{8C2EFFA7-1237-4F01-A972-E8BC4852791F}" dt="2024-03-26T04:53:15.228" v="1254" actId="478"/>
          <ac:grpSpMkLst>
            <pc:docMk/>
            <pc:sldMk cId="2153145050" sldId="2147482153"/>
            <ac:grpSpMk id="378" creationId="{C6808920-8BC6-FDA1-783A-4017F5006EF7}"/>
          </ac:grpSpMkLst>
        </pc:grpChg>
        <pc:grpChg chg="del">
          <ac:chgData name="Xiaomin Lu" userId="42419631-bd19-4e2d-8d0e-2a49042d0d37" providerId="ADAL" clId="{8C2EFFA7-1237-4F01-A972-E8BC4852791F}" dt="2024-03-26T04:53:15.228" v="1254" actId="478"/>
          <ac:grpSpMkLst>
            <pc:docMk/>
            <pc:sldMk cId="2153145050" sldId="2147482153"/>
            <ac:grpSpMk id="382" creationId="{136DEB5E-5E68-ED36-D0E2-EBAC2C9BD429}"/>
          </ac:grpSpMkLst>
        </pc:grpChg>
        <pc:grpChg chg="del">
          <ac:chgData name="Xiaomin Lu" userId="42419631-bd19-4e2d-8d0e-2a49042d0d37" providerId="ADAL" clId="{8C2EFFA7-1237-4F01-A972-E8BC4852791F}" dt="2024-03-26T04:53:15.228" v="1254" actId="478"/>
          <ac:grpSpMkLst>
            <pc:docMk/>
            <pc:sldMk cId="2153145050" sldId="2147482153"/>
            <ac:grpSpMk id="386" creationId="{669E6E4A-B0B6-6FBF-932F-4BC0967F34A9}"/>
          </ac:grpSpMkLst>
        </pc:grpChg>
        <pc:grpChg chg="del">
          <ac:chgData name="Xiaomin Lu" userId="42419631-bd19-4e2d-8d0e-2a49042d0d37" providerId="ADAL" clId="{8C2EFFA7-1237-4F01-A972-E8BC4852791F}" dt="2024-03-26T04:53:15.228" v="1254" actId="478"/>
          <ac:grpSpMkLst>
            <pc:docMk/>
            <pc:sldMk cId="2153145050" sldId="2147482153"/>
            <ac:grpSpMk id="406" creationId="{D2E526B0-68CB-0CE1-285C-8DC6D9BEE498}"/>
          </ac:grpSpMkLst>
        </pc:grpChg>
        <pc:grpChg chg="mod">
          <ac:chgData name="Xiaomin Lu" userId="42419631-bd19-4e2d-8d0e-2a49042d0d37" providerId="ADAL" clId="{8C2EFFA7-1237-4F01-A972-E8BC4852791F}" dt="2024-03-26T04:54:48.069" v="1279" actId="1035"/>
          <ac:grpSpMkLst>
            <pc:docMk/>
            <pc:sldMk cId="2153145050" sldId="2147482153"/>
            <ac:grpSpMk id="510" creationId="{6A43420D-0456-F05D-8350-DC44D9C0CB62}"/>
          </ac:grpSpMkLst>
        </pc:grpChg>
        <pc:grpChg chg="add mod">
          <ac:chgData name="Xiaomin Lu" userId="42419631-bd19-4e2d-8d0e-2a49042d0d37" providerId="ADAL" clId="{8C2EFFA7-1237-4F01-A972-E8BC4852791F}" dt="2024-03-26T04:54:48.069" v="1279" actId="1035"/>
          <ac:grpSpMkLst>
            <pc:docMk/>
            <pc:sldMk cId="2153145050" sldId="2147482153"/>
            <ac:grpSpMk id="532" creationId="{A7273E02-5EE3-1D2B-4C70-D7104E8D2DD1}"/>
          </ac:grpSpMkLst>
        </pc:grpChg>
        <pc:grpChg chg="add mod">
          <ac:chgData name="Xiaomin Lu" userId="42419631-bd19-4e2d-8d0e-2a49042d0d37" providerId="ADAL" clId="{8C2EFFA7-1237-4F01-A972-E8BC4852791F}" dt="2024-03-26T04:54:48.069" v="1279" actId="1035"/>
          <ac:grpSpMkLst>
            <pc:docMk/>
            <pc:sldMk cId="2153145050" sldId="2147482153"/>
            <ac:grpSpMk id="537" creationId="{EA9DD9A4-D27D-0055-5DBD-5042ACCA689B}"/>
          </ac:grpSpMkLst>
        </pc:grpChg>
        <pc:grpChg chg="add mod">
          <ac:chgData name="Xiaomin Lu" userId="42419631-bd19-4e2d-8d0e-2a49042d0d37" providerId="ADAL" clId="{8C2EFFA7-1237-4F01-A972-E8BC4852791F}" dt="2024-03-26T04:54:48.069" v="1279" actId="1035"/>
          <ac:grpSpMkLst>
            <pc:docMk/>
            <pc:sldMk cId="2153145050" sldId="2147482153"/>
            <ac:grpSpMk id="541" creationId="{31C1F395-7EEB-62F9-04BE-F4C7241234BF}"/>
          </ac:grpSpMkLst>
        </pc:grpChg>
        <pc:grpChg chg="add mod">
          <ac:chgData name="Xiaomin Lu" userId="42419631-bd19-4e2d-8d0e-2a49042d0d37" providerId="ADAL" clId="{8C2EFFA7-1237-4F01-A972-E8BC4852791F}" dt="2024-03-26T04:54:48.069" v="1279" actId="1035"/>
          <ac:grpSpMkLst>
            <pc:docMk/>
            <pc:sldMk cId="2153145050" sldId="2147482153"/>
            <ac:grpSpMk id="545" creationId="{794D8DA6-B9C2-8CB8-D5EB-86A93314BB78}"/>
          </ac:grpSpMkLst>
        </pc:grpChg>
        <pc:grpChg chg="add mod">
          <ac:chgData name="Xiaomin Lu" userId="42419631-bd19-4e2d-8d0e-2a49042d0d37" providerId="ADAL" clId="{8C2EFFA7-1237-4F01-A972-E8BC4852791F}" dt="2024-03-26T04:54:48.069" v="1279" actId="1035"/>
          <ac:grpSpMkLst>
            <pc:docMk/>
            <pc:sldMk cId="2153145050" sldId="2147482153"/>
            <ac:grpSpMk id="565" creationId="{7F2876DF-621C-7371-7D25-4B02DD36F386}"/>
          </ac:grpSpMkLst>
        </pc:grpChg>
        <pc:cxnChg chg="del">
          <ac:chgData name="Xiaomin Lu" userId="42419631-bd19-4e2d-8d0e-2a49042d0d37" providerId="ADAL" clId="{8C2EFFA7-1237-4F01-A972-E8BC4852791F}" dt="2024-03-26T04:53:17.592" v="1255" actId="478"/>
          <ac:cxnSpMkLst>
            <pc:docMk/>
            <pc:sldMk cId="2153145050" sldId="2147482153"/>
            <ac:cxnSpMk id="390" creationId="{663C141D-B852-B5BE-6069-06C90AC539E3}"/>
          </ac:cxnSpMkLst>
        </pc:cxnChg>
        <pc:cxnChg chg="del">
          <ac:chgData name="Xiaomin Lu" userId="42419631-bd19-4e2d-8d0e-2a49042d0d37" providerId="ADAL" clId="{8C2EFFA7-1237-4F01-A972-E8BC4852791F}" dt="2024-03-26T04:53:15.228" v="1254" actId="478"/>
          <ac:cxnSpMkLst>
            <pc:docMk/>
            <pc:sldMk cId="2153145050" sldId="2147482153"/>
            <ac:cxnSpMk id="391" creationId="{D1A5299E-6035-5E34-5828-86C3DD4DE860}"/>
          </ac:cxnSpMkLst>
        </pc:cxnChg>
        <pc:cxnChg chg="del">
          <ac:chgData name="Xiaomin Lu" userId="42419631-bd19-4e2d-8d0e-2a49042d0d37" providerId="ADAL" clId="{8C2EFFA7-1237-4F01-A972-E8BC4852791F}" dt="2024-03-26T04:53:15.228" v="1254" actId="478"/>
          <ac:cxnSpMkLst>
            <pc:docMk/>
            <pc:sldMk cId="2153145050" sldId="2147482153"/>
            <ac:cxnSpMk id="392" creationId="{2886053D-DA47-F0EA-529A-349FDEE704CA}"/>
          </ac:cxnSpMkLst>
        </pc:cxnChg>
        <pc:cxnChg chg="del">
          <ac:chgData name="Xiaomin Lu" userId="42419631-bd19-4e2d-8d0e-2a49042d0d37" providerId="ADAL" clId="{8C2EFFA7-1237-4F01-A972-E8BC4852791F}" dt="2024-03-26T04:53:15.228" v="1254" actId="478"/>
          <ac:cxnSpMkLst>
            <pc:docMk/>
            <pc:sldMk cId="2153145050" sldId="2147482153"/>
            <ac:cxnSpMk id="393" creationId="{E9952821-3201-4D89-21F0-431D6EEECFBF}"/>
          </ac:cxnSpMkLst>
        </pc:cxnChg>
        <pc:cxnChg chg="del">
          <ac:chgData name="Xiaomin Lu" userId="42419631-bd19-4e2d-8d0e-2a49042d0d37" providerId="ADAL" clId="{8C2EFFA7-1237-4F01-A972-E8BC4852791F}" dt="2024-03-26T04:53:15.228" v="1254" actId="478"/>
          <ac:cxnSpMkLst>
            <pc:docMk/>
            <pc:sldMk cId="2153145050" sldId="2147482153"/>
            <ac:cxnSpMk id="404" creationId="{9896157E-333A-A016-33F6-004BDF4670BA}"/>
          </ac:cxnSpMkLst>
        </pc:cxnChg>
        <pc:cxnChg chg="del">
          <ac:chgData name="Xiaomin Lu" userId="42419631-bd19-4e2d-8d0e-2a49042d0d37" providerId="ADAL" clId="{8C2EFFA7-1237-4F01-A972-E8BC4852791F}" dt="2024-03-26T04:53:18.463" v="1256" actId="478"/>
          <ac:cxnSpMkLst>
            <pc:docMk/>
            <pc:sldMk cId="2153145050" sldId="2147482153"/>
            <ac:cxnSpMk id="413" creationId="{A3BB1FD0-EFE8-D747-7F0B-B49F0EAA2542}"/>
          </ac:cxnSpMkLst>
        </pc:cxnChg>
        <pc:cxnChg chg="add mod">
          <ac:chgData name="Xiaomin Lu" userId="42419631-bd19-4e2d-8d0e-2a49042d0d37" providerId="ADAL" clId="{8C2EFFA7-1237-4F01-A972-E8BC4852791F}" dt="2024-03-26T04:54:48.069" v="1279" actId="1035"/>
          <ac:cxnSpMkLst>
            <pc:docMk/>
            <pc:sldMk cId="2153145050" sldId="2147482153"/>
            <ac:cxnSpMk id="548" creationId="{A3322D35-238E-4C77-4CCD-5F5ACB707726}"/>
          </ac:cxnSpMkLst>
        </pc:cxnChg>
        <pc:cxnChg chg="add mod">
          <ac:chgData name="Xiaomin Lu" userId="42419631-bd19-4e2d-8d0e-2a49042d0d37" providerId="ADAL" clId="{8C2EFFA7-1237-4F01-A972-E8BC4852791F}" dt="2024-03-26T04:54:48.069" v="1279" actId="1035"/>
          <ac:cxnSpMkLst>
            <pc:docMk/>
            <pc:sldMk cId="2153145050" sldId="2147482153"/>
            <ac:cxnSpMk id="549" creationId="{D8C52D44-3630-2903-C5D9-F95D2B4DA508}"/>
          </ac:cxnSpMkLst>
        </pc:cxnChg>
        <pc:cxnChg chg="add mod">
          <ac:chgData name="Xiaomin Lu" userId="42419631-bd19-4e2d-8d0e-2a49042d0d37" providerId="ADAL" clId="{8C2EFFA7-1237-4F01-A972-E8BC4852791F}" dt="2024-03-26T04:54:48.069" v="1279" actId="1035"/>
          <ac:cxnSpMkLst>
            <pc:docMk/>
            <pc:sldMk cId="2153145050" sldId="2147482153"/>
            <ac:cxnSpMk id="550" creationId="{2E3D9A8E-9642-DC94-A841-5AC011452B97}"/>
          </ac:cxnSpMkLst>
        </pc:cxnChg>
        <pc:cxnChg chg="add mod">
          <ac:chgData name="Xiaomin Lu" userId="42419631-bd19-4e2d-8d0e-2a49042d0d37" providerId="ADAL" clId="{8C2EFFA7-1237-4F01-A972-E8BC4852791F}" dt="2024-03-26T04:54:48.069" v="1279" actId="1035"/>
          <ac:cxnSpMkLst>
            <pc:docMk/>
            <pc:sldMk cId="2153145050" sldId="2147482153"/>
            <ac:cxnSpMk id="551" creationId="{D4423918-A279-3E43-B6A1-34CE196613BB}"/>
          </ac:cxnSpMkLst>
        </pc:cxnChg>
        <pc:cxnChg chg="add mod">
          <ac:chgData name="Xiaomin Lu" userId="42419631-bd19-4e2d-8d0e-2a49042d0d37" providerId="ADAL" clId="{8C2EFFA7-1237-4F01-A972-E8BC4852791F}" dt="2024-03-26T04:54:48.069" v="1279" actId="1035"/>
          <ac:cxnSpMkLst>
            <pc:docMk/>
            <pc:sldMk cId="2153145050" sldId="2147482153"/>
            <ac:cxnSpMk id="552" creationId="{6B11AC71-27D9-30AF-07E3-7B2068601E05}"/>
          </ac:cxnSpMkLst>
        </pc:cxnChg>
        <pc:cxnChg chg="add mod">
          <ac:chgData name="Xiaomin Lu" userId="42419631-bd19-4e2d-8d0e-2a49042d0d37" providerId="ADAL" clId="{8C2EFFA7-1237-4F01-A972-E8BC4852791F}" dt="2024-03-26T04:54:48.069" v="1279" actId="1035"/>
          <ac:cxnSpMkLst>
            <pc:docMk/>
            <pc:sldMk cId="2153145050" sldId="2147482153"/>
            <ac:cxnSpMk id="563" creationId="{C2B5C561-171B-8C77-A91F-7612A0256C5B}"/>
          </ac:cxnSpMkLst>
        </pc:cxnChg>
      </pc:sldChg>
      <pc:sldChg chg="addSp delSp modSp add mod">
        <pc:chgData name="Xiaomin Lu" userId="42419631-bd19-4e2d-8d0e-2a49042d0d37" providerId="ADAL" clId="{8C2EFFA7-1237-4F01-A972-E8BC4852791F}" dt="2024-04-01T23:14:09.971" v="3009" actId="1076"/>
        <pc:sldMkLst>
          <pc:docMk/>
          <pc:sldMk cId="64601131" sldId="2147482154"/>
        </pc:sldMkLst>
        <pc:spChg chg="del">
          <ac:chgData name="Xiaomin Lu" userId="42419631-bd19-4e2d-8d0e-2a49042d0d37" providerId="ADAL" clId="{8C2EFFA7-1237-4F01-A972-E8BC4852791F}" dt="2024-04-01T23:12:39.116" v="2991" actId="478"/>
          <ac:spMkLst>
            <pc:docMk/>
            <pc:sldMk cId="64601131" sldId="2147482154"/>
            <ac:spMk id="6" creationId="{8E4C750A-72A9-453B-9CF5-BDA102D5BFF4}"/>
          </ac:spMkLst>
        </pc:spChg>
        <pc:spChg chg="del">
          <ac:chgData name="Xiaomin Lu" userId="42419631-bd19-4e2d-8d0e-2a49042d0d37" providerId="ADAL" clId="{8C2EFFA7-1237-4F01-A972-E8BC4852791F}" dt="2024-04-01T23:12:39.116" v="2991" actId="478"/>
          <ac:spMkLst>
            <pc:docMk/>
            <pc:sldMk cId="64601131" sldId="2147482154"/>
            <ac:spMk id="7" creationId="{FACF4CFD-D4EB-27F5-52A5-ED19E813F4A9}"/>
          </ac:spMkLst>
        </pc:spChg>
        <pc:graphicFrameChg chg="del">
          <ac:chgData name="Xiaomin Lu" userId="42419631-bd19-4e2d-8d0e-2a49042d0d37" providerId="ADAL" clId="{8C2EFFA7-1237-4F01-A972-E8BC4852791F}" dt="2024-04-01T23:12:35.270" v="2990" actId="478"/>
          <ac:graphicFrameMkLst>
            <pc:docMk/>
            <pc:sldMk cId="64601131" sldId="2147482154"/>
            <ac:graphicFrameMk id="8" creationId="{4D16ADB5-A4CB-561D-5D46-29FFDEE8D041}"/>
          </ac:graphicFrameMkLst>
        </pc:graphicFrameChg>
        <pc:picChg chg="del">
          <ac:chgData name="Xiaomin Lu" userId="42419631-bd19-4e2d-8d0e-2a49042d0d37" providerId="ADAL" clId="{8C2EFFA7-1237-4F01-A972-E8BC4852791F}" dt="2024-04-01T23:12:33.806" v="2989" actId="478"/>
          <ac:picMkLst>
            <pc:docMk/>
            <pc:sldMk cId="64601131" sldId="2147482154"/>
            <ac:picMk id="4" creationId="{571B70F2-A45A-FA67-3FBB-ACFF2216C91F}"/>
          </ac:picMkLst>
        </pc:picChg>
        <pc:picChg chg="add del mod">
          <ac:chgData name="Xiaomin Lu" userId="42419631-bd19-4e2d-8d0e-2a49042d0d37" providerId="ADAL" clId="{8C2EFFA7-1237-4F01-A972-E8BC4852791F}" dt="2024-04-01T23:14:09.971" v="3009" actId="1076"/>
          <ac:picMkLst>
            <pc:docMk/>
            <pc:sldMk cId="64601131" sldId="2147482154"/>
            <ac:picMk id="9" creationId="{4B3A0054-81AB-CF76-1FF2-F4399BB6D186}"/>
          </ac:picMkLst>
        </pc:picChg>
        <pc:picChg chg="add del mod">
          <ac:chgData name="Xiaomin Lu" userId="42419631-bd19-4e2d-8d0e-2a49042d0d37" providerId="ADAL" clId="{8C2EFFA7-1237-4F01-A972-E8BC4852791F}" dt="2024-04-01T23:14:02.694" v="3006" actId="22"/>
          <ac:picMkLst>
            <pc:docMk/>
            <pc:sldMk cId="64601131" sldId="2147482154"/>
            <ac:picMk id="11" creationId="{23911621-D1D3-1140-084B-14C63C5535FF}"/>
          </ac:picMkLst>
        </pc:picChg>
      </pc:sldChg>
      <pc:sldMasterChg chg="delSldLayout">
        <pc:chgData name="Xiaomin Lu" userId="42419631-bd19-4e2d-8d0e-2a49042d0d37" providerId="ADAL" clId="{8C2EFFA7-1237-4F01-A972-E8BC4852791F}" dt="2024-03-26T04:36:15.177" v="1140" actId="47"/>
        <pc:sldMasterMkLst>
          <pc:docMk/>
          <pc:sldMasterMk cId="662014058" sldId="2147483887"/>
        </pc:sldMasterMkLst>
        <pc:sldLayoutChg chg="del">
          <pc:chgData name="Xiaomin Lu" userId="42419631-bd19-4e2d-8d0e-2a49042d0d37" providerId="ADAL" clId="{8C2EFFA7-1237-4F01-A972-E8BC4852791F}" dt="2024-03-26T04:36:15.177" v="1140" actId="47"/>
          <pc:sldLayoutMkLst>
            <pc:docMk/>
            <pc:sldMasterMk cId="662014058" sldId="2147483887"/>
            <pc:sldLayoutMk cId="2788689867" sldId="2147483900"/>
          </pc:sldLayoutMkLst>
        </pc:sldLayoutChg>
      </pc:sldMasterChg>
    </pc:docChg>
  </pc:docChgLst>
  <pc:docChgLst>
    <pc:chgData name="Andrew Billin" userId="S::andrew.billin@gilead.com::bb80ba1e-8d55-497c-975f-19bdeb1b6669" providerId="AD" clId="Web-{A15E0614-436A-8457-7550-7CDADF273BDB}"/>
    <pc:docChg chg="">
      <pc:chgData name="Andrew Billin" userId="S::andrew.billin@gilead.com::bb80ba1e-8d55-497c-975f-19bdeb1b6669" providerId="AD" clId="Web-{A15E0614-436A-8457-7550-7CDADF273BDB}" dt="2024-04-09T21:00:40.896" v="0"/>
      <pc:docMkLst>
        <pc:docMk/>
      </pc:docMkLst>
      <pc:sldChg chg="modCm">
        <pc:chgData name="Andrew Billin" userId="S::andrew.billin@gilead.com::bb80ba1e-8d55-497c-975f-19bdeb1b6669" providerId="AD" clId="Web-{A15E0614-436A-8457-7550-7CDADF273BDB}" dt="2024-04-09T21:00:40.896" v="0"/>
        <pc:sldMkLst>
          <pc:docMk/>
          <pc:sldMk cId="1299719781" sldId="214748215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Andrew Billin" userId="S::andrew.billin@gilead.com::bb80ba1e-8d55-497c-975f-19bdeb1b6669" providerId="AD" clId="Web-{A15E0614-436A-8457-7550-7CDADF273BDB}" dt="2024-04-09T21:00:40.896" v="0"/>
              <pc2:cmMkLst xmlns:pc2="http://schemas.microsoft.com/office/powerpoint/2019/9/main/command">
                <pc:docMk/>
                <pc:sldMk cId="1299719781" sldId="2147482156"/>
                <pc2:cmMk id="{8156AA9C-47B8-4F77-BBA6-1C855EE557B7}"/>
              </pc2:cmMkLst>
              <pc226:cmRplyChg chg="add">
                <pc226:chgData name="Andrew Billin" userId="S::andrew.billin@gilead.com::bb80ba1e-8d55-497c-975f-19bdeb1b6669" providerId="AD" clId="Web-{A15E0614-436A-8457-7550-7CDADF273BDB}" dt="2024-04-09T21:00:40.896" v="0"/>
                <pc2:cmRplyMkLst xmlns:pc2="http://schemas.microsoft.com/office/powerpoint/2019/9/main/command">
                  <pc:docMk/>
                  <pc:sldMk cId="1299719781" sldId="2147482156"/>
                  <pc2:cmMk id="{8156AA9C-47B8-4F77-BBA6-1C855EE557B7}"/>
                  <pc2:cmRplyMk id="{D551253F-2E16-4483-AB5B-66A2D12309D7}"/>
                </pc2:cmRplyMkLst>
              </pc226:cmRplyChg>
            </pc226:cmChg>
          </p:ext>
        </pc:extLst>
      </pc:sldChg>
    </pc:docChg>
  </pc:docChgLst>
  <pc:docChgLst>
    <pc:chgData name="Shahla Bolbolan" userId="4e5faef4-051b-4adc-b291-0d435384080a" providerId="ADAL" clId="{0EEBBD80-D0F9-4ECC-BE10-905E588F48D9}"/>
    <pc:docChg chg="">
      <pc:chgData name="Shahla Bolbolan" userId="4e5faef4-051b-4adc-b291-0d435384080a" providerId="ADAL" clId="{0EEBBD80-D0F9-4ECC-BE10-905E588F48D9}" dt="2024-03-26T07:12:44.671" v="2" actId="2056"/>
      <pc:docMkLst>
        <pc:docMk/>
      </pc:docMkLst>
      <pc:sldChg chg="modCm">
        <pc:chgData name="Shahla Bolbolan" userId="4e5faef4-051b-4adc-b291-0d435384080a" providerId="ADAL" clId="{0EEBBD80-D0F9-4ECC-BE10-905E588F48D9}" dt="2024-03-26T07:12:44.671" v="2" actId="2056"/>
        <pc:sldMkLst>
          <pc:docMk/>
          <pc:sldMk cId="3998398124" sldId="2146847936"/>
        </pc:sldMkLst>
      </pc:sldChg>
      <pc:sldChg chg="modCm">
        <pc:chgData name="Shahla Bolbolan" userId="4e5faef4-051b-4adc-b291-0d435384080a" providerId="ADAL" clId="{0EEBBD80-D0F9-4ECC-BE10-905E588F48D9}" dt="2024-03-26T00:59:56.971" v="1" actId="2056"/>
        <pc:sldMkLst>
          <pc:docMk/>
          <pc:sldMk cId="3190076938" sldId="2147472670"/>
        </pc:sldMkLst>
      </pc:sldChg>
      <pc:sldChg chg="modCm">
        <pc:chgData name="Shahla Bolbolan" userId="4e5faef4-051b-4adc-b291-0d435384080a" providerId="ADAL" clId="{0EEBBD80-D0F9-4ECC-BE10-905E588F48D9}" dt="2024-03-25T22:17:55.097" v="0" actId="2056"/>
        <pc:sldMkLst>
          <pc:docMk/>
          <pc:sldMk cId="1537990309" sldId="2147482150"/>
        </pc:sldMkLst>
      </pc:sldChg>
    </pc:docChg>
  </pc:docChgLst>
  <pc:docChgLst>
    <pc:chgData name="Jason Melehani" userId="93603e9a-d746-4d7c-89da-7c5ef8b091f7" providerId="ADAL" clId="{2A6C6AA7-FE1F-4735-BE0C-11B537765195}"/>
    <pc:docChg chg="undo custSel addSld delSld modSld sldOrd modSection">
      <pc:chgData name="Jason Melehani" userId="93603e9a-d746-4d7c-89da-7c5ef8b091f7" providerId="ADAL" clId="{2A6C6AA7-FE1F-4735-BE0C-11B537765195}" dt="2024-04-09T20:03:37.972" v="1642"/>
      <pc:docMkLst>
        <pc:docMk/>
      </pc:docMkLst>
      <pc:sldChg chg="ord">
        <pc:chgData name="Jason Melehani" userId="93603e9a-d746-4d7c-89da-7c5ef8b091f7" providerId="ADAL" clId="{2A6C6AA7-FE1F-4735-BE0C-11B537765195}" dt="2024-04-08T22:39:46.013" v="1"/>
        <pc:sldMkLst>
          <pc:docMk/>
          <pc:sldMk cId="322481365" sldId="2147482129"/>
        </pc:sldMkLst>
      </pc:sldChg>
      <pc:sldChg chg="addSp delSp modSp new del mod addCm modCm">
        <pc:chgData name="Jason Melehani" userId="93603e9a-d746-4d7c-89da-7c5ef8b091f7" providerId="ADAL" clId="{2A6C6AA7-FE1F-4735-BE0C-11B537765195}" dt="2024-04-09T00:53:55.419" v="1639" actId="47"/>
        <pc:sldMkLst>
          <pc:docMk/>
          <pc:sldMk cId="1040114691" sldId="2147482155"/>
        </pc:sldMkLst>
        <pc:spChg chg="mod">
          <ac:chgData name="Jason Melehani" userId="93603e9a-d746-4d7c-89da-7c5ef8b091f7" providerId="ADAL" clId="{2A6C6AA7-FE1F-4735-BE0C-11B537765195}" dt="2024-04-09T00:37:37.326" v="738" actId="20577"/>
          <ac:spMkLst>
            <pc:docMk/>
            <pc:sldMk cId="1040114691" sldId="2147482155"/>
            <ac:spMk id="2" creationId="{D638B2A1-CACB-C62A-2595-AC007E280AE1}"/>
          </ac:spMkLst>
        </pc:spChg>
        <pc:spChg chg="add mod">
          <ac:chgData name="Jason Melehani" userId="93603e9a-d746-4d7c-89da-7c5ef8b091f7" providerId="ADAL" clId="{2A6C6AA7-FE1F-4735-BE0C-11B537765195}" dt="2024-04-09T00:36:45.215" v="596" actId="255"/>
          <ac:spMkLst>
            <pc:docMk/>
            <pc:sldMk cId="1040114691" sldId="2147482155"/>
            <ac:spMk id="5" creationId="{08D8821B-DD75-9726-2791-4764347069F2}"/>
          </ac:spMkLst>
        </pc:spChg>
        <pc:spChg chg="add mod">
          <ac:chgData name="Jason Melehani" userId="93603e9a-d746-4d7c-89da-7c5ef8b091f7" providerId="ADAL" clId="{2A6C6AA7-FE1F-4735-BE0C-11B537765195}" dt="2024-04-09T00:24:12.432" v="148" actId="1076"/>
          <ac:spMkLst>
            <pc:docMk/>
            <pc:sldMk cId="1040114691" sldId="2147482155"/>
            <ac:spMk id="6" creationId="{26CDA48A-1AF7-1A34-C5A8-917C03BF1B4B}"/>
          </ac:spMkLst>
        </pc:spChg>
        <pc:spChg chg="add del mod">
          <ac:chgData name="Jason Melehani" userId="93603e9a-d746-4d7c-89da-7c5ef8b091f7" providerId="ADAL" clId="{2A6C6AA7-FE1F-4735-BE0C-11B537765195}" dt="2024-04-09T00:31:27.059" v="354" actId="478"/>
          <ac:spMkLst>
            <pc:docMk/>
            <pc:sldMk cId="1040114691" sldId="2147482155"/>
            <ac:spMk id="7" creationId="{B3F7CE69-2445-473F-DAEC-8D582287271F}"/>
          </ac:spMkLst>
        </pc:spChg>
        <pc:spChg chg="add mod">
          <ac:chgData name="Jason Melehani" userId="93603e9a-d746-4d7c-89da-7c5ef8b091f7" providerId="ADAL" clId="{2A6C6AA7-FE1F-4735-BE0C-11B537765195}" dt="2024-04-09T00:35:59.614" v="589" actId="14100"/>
          <ac:spMkLst>
            <pc:docMk/>
            <pc:sldMk cId="1040114691" sldId="2147482155"/>
            <ac:spMk id="12" creationId="{D781F81C-ED0B-6CEE-E514-B737A1984252}"/>
          </ac:spMkLst>
        </pc:spChg>
        <pc:spChg chg="add mod">
          <ac:chgData name="Jason Melehani" userId="93603e9a-d746-4d7c-89da-7c5ef8b091f7" providerId="ADAL" clId="{2A6C6AA7-FE1F-4735-BE0C-11B537765195}" dt="2024-04-09T00:36:51.558" v="598" actId="1076"/>
          <ac:spMkLst>
            <pc:docMk/>
            <pc:sldMk cId="1040114691" sldId="2147482155"/>
            <ac:spMk id="14" creationId="{A993D13D-10CF-CA33-BA9D-980860C432A5}"/>
          </ac:spMkLst>
        </pc:spChg>
        <pc:picChg chg="add mod">
          <ac:chgData name="Jason Melehani" userId="93603e9a-d746-4d7c-89da-7c5ef8b091f7" providerId="ADAL" clId="{2A6C6AA7-FE1F-4735-BE0C-11B537765195}" dt="2024-04-09T00:47:01.714" v="740" actId="14100"/>
          <ac:picMkLst>
            <pc:docMk/>
            <pc:sldMk cId="1040114691" sldId="2147482155"/>
            <ac:picMk id="4" creationId="{AC6149B3-2696-37D9-1176-42396F7692F4}"/>
          </ac:picMkLst>
        </pc:picChg>
        <pc:picChg chg="add mod">
          <ac:chgData name="Jason Melehani" userId="93603e9a-d746-4d7c-89da-7c5ef8b091f7" providerId="ADAL" clId="{2A6C6AA7-FE1F-4735-BE0C-11B537765195}" dt="2024-04-09T00:47:03.284" v="741" actId="14100"/>
          <ac:picMkLst>
            <pc:docMk/>
            <pc:sldMk cId="1040114691" sldId="2147482155"/>
            <ac:picMk id="9" creationId="{AD989002-2C6B-55D4-B7D7-8BB82B261C0F}"/>
          </ac:picMkLst>
        </pc:picChg>
        <pc:picChg chg="add mod">
          <ac:chgData name="Jason Melehani" userId="93603e9a-d746-4d7c-89da-7c5ef8b091f7" providerId="ADAL" clId="{2A6C6AA7-FE1F-4735-BE0C-11B537765195}" dt="2024-04-09T00:36:54.161" v="599" actId="1076"/>
          <ac:picMkLst>
            <pc:docMk/>
            <pc:sldMk cId="1040114691" sldId="2147482155"/>
            <ac:picMk id="11" creationId="{FBF23D75-5364-6157-8C91-18D94D9310D5}"/>
          </ac:picMkLst>
        </pc:picChg>
      </pc:sldChg>
      <pc:sldChg chg="addSp modSp add mod addCm">
        <pc:chgData name="Jason Melehani" userId="93603e9a-d746-4d7c-89da-7c5ef8b091f7" providerId="ADAL" clId="{2A6C6AA7-FE1F-4735-BE0C-11B537765195}" dt="2024-04-09T20:03:37.972" v="1642"/>
        <pc:sldMkLst>
          <pc:docMk/>
          <pc:sldMk cId="1299719781" sldId="2147482156"/>
        </pc:sldMkLst>
        <pc:spChg chg="add mod">
          <ac:chgData name="Jason Melehani" userId="93603e9a-d746-4d7c-89da-7c5ef8b091f7" providerId="ADAL" clId="{2A6C6AA7-FE1F-4735-BE0C-11B537765195}" dt="2024-04-09T00:53:51.451" v="1638" actId="1076"/>
          <ac:spMkLst>
            <pc:docMk/>
            <pc:sldMk cId="1299719781" sldId="2147482156"/>
            <ac:spMk id="4" creationId="{A4CF3EBE-D41B-E718-2FDF-398D0706406B}"/>
          </ac:spMkLst>
        </pc:spChg>
        <pc:spChg chg="mod">
          <ac:chgData name="Jason Melehani" userId="93603e9a-d746-4d7c-89da-7c5ef8b091f7" providerId="ADAL" clId="{2A6C6AA7-FE1F-4735-BE0C-11B537765195}" dt="2024-04-09T00:47:12.964" v="743"/>
          <ac:spMkLst>
            <pc:docMk/>
            <pc:sldMk cId="1299719781" sldId="2147482156"/>
            <ac:spMk id="9" creationId="{58C85E7D-509B-FD88-AB7F-74F76DADAC46}"/>
          </ac:spMkLst>
        </pc:spChg>
        <pc:spChg chg="mod">
          <ac:chgData name="Jason Melehani" userId="93603e9a-d746-4d7c-89da-7c5ef8b091f7" providerId="ADAL" clId="{2A6C6AA7-FE1F-4735-BE0C-11B537765195}" dt="2024-04-09T20:02:02.836" v="1641" actId="20577"/>
          <ac:spMkLst>
            <pc:docMk/>
            <pc:sldMk cId="1299719781" sldId="2147482156"/>
            <ac:spMk id="10" creationId="{EB19EFDB-B495-5E2D-8C0F-A4CD4799D8B2}"/>
          </ac:spMkLst>
        </pc:spChg>
      </pc:sldChg>
    </pc:docChg>
  </pc:docChgLst>
  <pc:docChgLst>
    <pc:chgData name="Jason Melehani" userId="S::jason.melehani@gilead.com::93603e9a-d746-4d7c-89da-7c5ef8b091f7" providerId="AD" clId="Web-{F9E1E201-22AB-013F-0376-16A27EC41BE0}"/>
    <pc:docChg chg="modSld">
      <pc:chgData name="Jason Melehani" userId="S::jason.melehani@gilead.com::93603e9a-d746-4d7c-89da-7c5ef8b091f7" providerId="AD" clId="Web-{F9E1E201-22AB-013F-0376-16A27EC41BE0}" dt="2024-03-25T04:38:58.756" v="4"/>
      <pc:docMkLst>
        <pc:docMk/>
      </pc:docMkLst>
      <pc:sldChg chg="modSp">
        <pc:chgData name="Jason Melehani" userId="S::jason.melehani@gilead.com::93603e9a-d746-4d7c-89da-7c5ef8b091f7" providerId="AD" clId="Web-{F9E1E201-22AB-013F-0376-16A27EC41BE0}" dt="2024-03-25T04:38:58.756" v="4"/>
        <pc:sldMkLst>
          <pc:docMk/>
          <pc:sldMk cId="1250735742" sldId="2147482140"/>
        </pc:sldMkLst>
        <pc:spChg chg="mod">
          <ac:chgData name="Jason Melehani" userId="S::jason.melehani@gilead.com::93603e9a-d746-4d7c-89da-7c5ef8b091f7" providerId="AD" clId="Web-{F9E1E201-22AB-013F-0376-16A27EC41BE0}" dt="2024-03-25T04:38:44.958" v="2" actId="20577"/>
          <ac:spMkLst>
            <pc:docMk/>
            <pc:sldMk cId="1250735742" sldId="2147482140"/>
            <ac:spMk id="3" creationId="{84E7990A-45D4-29D5-9849-9E694B358C8B}"/>
          </ac:spMkLst>
        </pc:spChg>
        <pc:graphicFrameChg chg="modGraphic">
          <ac:chgData name="Jason Melehani" userId="S::jason.melehani@gilead.com::93603e9a-d746-4d7c-89da-7c5ef8b091f7" providerId="AD" clId="Web-{F9E1E201-22AB-013F-0376-16A27EC41BE0}" dt="2024-03-25T04:38:58.756" v="4"/>
          <ac:graphicFrameMkLst>
            <pc:docMk/>
            <pc:sldMk cId="1250735742" sldId="2147482140"/>
            <ac:graphicFrameMk id="5" creationId="{91F37556-58DD-6C97-A796-1F5E7CB49954}"/>
          </ac:graphicFrameMkLst>
        </pc:graphicFrameChg>
        <pc:graphicFrameChg chg="modGraphic">
          <ac:chgData name="Jason Melehani" userId="S::jason.melehani@gilead.com::93603e9a-d746-4d7c-89da-7c5ef8b091f7" providerId="AD" clId="Web-{F9E1E201-22AB-013F-0376-16A27EC41BE0}" dt="2024-03-25T04:38:51.599" v="3"/>
          <ac:graphicFrameMkLst>
            <pc:docMk/>
            <pc:sldMk cId="1250735742" sldId="2147482140"/>
            <ac:graphicFrameMk id="6" creationId="{9599B004-D8E1-32FA-4DAA-39FA7D214EF2}"/>
          </ac:graphicFrameMkLst>
        </pc:graphicFrameChg>
      </pc:sldChg>
    </pc:docChg>
  </pc:docChgLst>
  <pc:docChgLst>
    <pc:chgData name="Jason Melehani" userId="S::jason.melehani@gilead.com::93603e9a-d746-4d7c-89da-7c5ef8b091f7" providerId="AD" clId="Web-{2FFA7C35-751D-BD9D-8E88-7E4776C42283}"/>
    <pc:docChg chg="">
      <pc:chgData name="Jason Melehani" userId="S::jason.melehani@gilead.com::93603e9a-d746-4d7c-89da-7c5ef8b091f7" providerId="AD" clId="Web-{2FFA7C35-751D-BD9D-8E88-7E4776C42283}" dt="2024-03-19T20:28:48.874" v="0"/>
      <pc:docMkLst>
        <pc:docMk/>
      </pc:docMkLst>
      <pc:sldChg chg="addCm">
        <pc:chgData name="Jason Melehani" userId="S::jason.melehani@gilead.com::93603e9a-d746-4d7c-89da-7c5ef8b091f7" providerId="AD" clId="Web-{2FFA7C35-751D-BD9D-8E88-7E4776C42283}" dt="2024-03-19T20:28:48.874" v="0"/>
        <pc:sldMkLst>
          <pc:docMk/>
          <pc:sldMk cId="11518599" sldId="2147308834"/>
        </pc:sldMkLst>
      </pc:sldChg>
    </pc:docChg>
  </pc:docChgLst>
  <pc:docChgLst>
    <pc:chgData name="Jason Melehani" userId="S::jason.melehani@gilead.com::93603e9a-d746-4d7c-89da-7c5ef8b091f7" providerId="AD" clId="Web-{C6538201-356F-6C85-9464-7D1BE099440E}"/>
    <pc:docChg chg="modSld">
      <pc:chgData name="Jason Melehani" userId="S::jason.melehani@gilead.com::93603e9a-d746-4d7c-89da-7c5ef8b091f7" providerId="AD" clId="Web-{C6538201-356F-6C85-9464-7D1BE099440E}" dt="2024-03-26T19:29:03.584" v="516"/>
      <pc:docMkLst>
        <pc:docMk/>
      </pc:docMkLst>
      <pc:sldChg chg="modSp">
        <pc:chgData name="Jason Melehani" userId="S::jason.melehani@gilead.com::93603e9a-d746-4d7c-89da-7c5ef8b091f7" providerId="AD" clId="Web-{C6538201-356F-6C85-9464-7D1BE099440E}" dt="2024-03-26T19:11:24.273" v="5"/>
        <pc:sldMkLst>
          <pc:docMk/>
          <pc:sldMk cId="1086338696" sldId="2146847517"/>
        </pc:sldMkLst>
        <pc:graphicFrameChg chg="mod modGraphic">
          <ac:chgData name="Jason Melehani" userId="S::jason.melehani@gilead.com::93603e9a-d746-4d7c-89da-7c5ef8b091f7" providerId="AD" clId="Web-{C6538201-356F-6C85-9464-7D1BE099440E}" dt="2024-03-26T19:11:24.273" v="5"/>
          <ac:graphicFrameMkLst>
            <pc:docMk/>
            <pc:sldMk cId="1086338696" sldId="2146847517"/>
            <ac:graphicFrameMk id="8" creationId="{CA557B88-FEFB-4458-BF09-8B979BE885DF}"/>
          </ac:graphicFrameMkLst>
        </pc:graphicFrameChg>
      </pc:sldChg>
      <pc:sldChg chg="modSp addCm modCm">
        <pc:chgData name="Jason Melehani" userId="S::jason.melehani@gilead.com::93603e9a-d746-4d7c-89da-7c5ef8b091f7" providerId="AD" clId="Web-{C6538201-356F-6C85-9464-7D1BE099440E}" dt="2024-03-26T19:21:09.446" v="418"/>
        <pc:sldMkLst>
          <pc:docMk/>
          <pc:sldMk cId="3998398124" sldId="2146847936"/>
        </pc:sldMkLst>
        <pc:spChg chg="mod">
          <ac:chgData name="Jason Melehani" userId="S::jason.melehani@gilead.com::93603e9a-d746-4d7c-89da-7c5ef8b091f7" providerId="AD" clId="Web-{C6538201-356F-6C85-9464-7D1BE099440E}" dt="2024-03-26T19:09:45.176" v="1"/>
          <ac:spMkLst>
            <pc:docMk/>
            <pc:sldMk cId="3998398124" sldId="2146847936"/>
            <ac:spMk id="5" creationId="{6ADF52A1-DCD6-D6C7-6C30-2067B4984EE7}"/>
          </ac:spMkLst>
        </pc:spChg>
      </pc:sldChg>
      <pc:sldChg chg="modCm">
        <pc:chgData name="Jason Melehani" userId="S::jason.melehani@gilead.com::93603e9a-d746-4d7c-89da-7c5ef8b091f7" providerId="AD" clId="Web-{C6538201-356F-6C85-9464-7D1BE099440E}" dt="2024-03-26T19:29:03.584" v="516"/>
        <pc:sldMkLst>
          <pc:docMk/>
          <pc:sldMk cId="3190076938" sldId="2147472670"/>
        </pc:sldMkLst>
      </pc:sldChg>
      <pc:sldChg chg="modCm">
        <pc:chgData name="Jason Melehani" userId="S::jason.melehani@gilead.com::93603e9a-d746-4d7c-89da-7c5ef8b091f7" providerId="AD" clId="Web-{C6538201-356F-6C85-9464-7D1BE099440E}" dt="2024-03-26T19:12:24.462" v="6"/>
        <pc:sldMkLst>
          <pc:docMk/>
          <pc:sldMk cId="3151860006" sldId="2147479462"/>
        </pc:sldMkLst>
      </pc:sldChg>
      <pc:sldChg chg="addCm">
        <pc:chgData name="Jason Melehani" userId="S::jason.melehani@gilead.com::93603e9a-d746-4d7c-89da-7c5ef8b091f7" providerId="AD" clId="Web-{C6538201-356F-6C85-9464-7D1BE099440E}" dt="2024-03-26T19:14:10.199" v="7"/>
        <pc:sldMkLst>
          <pc:docMk/>
          <pc:sldMk cId="2923371731" sldId="2147479473"/>
        </pc:sldMkLst>
      </pc:sldChg>
      <pc:sldChg chg="modSp modCm">
        <pc:chgData name="Jason Melehani" userId="S::jason.melehani@gilead.com::93603e9a-d746-4d7c-89da-7c5ef8b091f7" providerId="AD" clId="Web-{C6538201-356F-6C85-9464-7D1BE099440E}" dt="2024-03-26T19:28:45.271" v="515" actId="20577"/>
        <pc:sldMkLst>
          <pc:docMk/>
          <pc:sldMk cId="1250735742" sldId="2147482140"/>
        </pc:sldMkLst>
        <pc:spChg chg="mod">
          <ac:chgData name="Jason Melehani" userId="S::jason.melehani@gilead.com::93603e9a-d746-4d7c-89da-7c5ef8b091f7" providerId="AD" clId="Web-{C6538201-356F-6C85-9464-7D1BE099440E}" dt="2024-03-26T19:28:45.271" v="515" actId="20577"/>
          <ac:spMkLst>
            <pc:docMk/>
            <pc:sldMk cId="1250735742" sldId="2147482140"/>
            <ac:spMk id="3" creationId="{84E7990A-45D4-29D5-9849-9E694B358C8B}"/>
          </ac:spMkLst>
        </pc:spChg>
      </pc:sldChg>
      <pc:sldChg chg="addSp modSp modCm">
        <pc:chgData name="Jason Melehani" userId="S::jason.melehani@gilead.com::93603e9a-d746-4d7c-89da-7c5ef8b091f7" providerId="AD" clId="Web-{C6538201-356F-6C85-9464-7D1BE099440E}" dt="2024-03-26T19:27:42.441" v="493" actId="20577"/>
        <pc:sldMkLst>
          <pc:docMk/>
          <pc:sldMk cId="1685824701" sldId="2147482146"/>
        </pc:sldMkLst>
        <pc:spChg chg="add mod">
          <ac:chgData name="Jason Melehani" userId="S::jason.melehani@gilead.com::93603e9a-d746-4d7c-89da-7c5ef8b091f7" providerId="AD" clId="Web-{C6538201-356F-6C85-9464-7D1BE099440E}" dt="2024-03-26T19:26:47.674" v="481" actId="1076"/>
          <ac:spMkLst>
            <pc:docMk/>
            <pc:sldMk cId="1685824701" sldId="2147482146"/>
            <ac:spMk id="2" creationId="{E795290F-E2FF-2F0A-2B76-A89C8E1431EA}"/>
          </ac:spMkLst>
        </pc:spChg>
        <pc:spChg chg="mod">
          <ac:chgData name="Jason Melehani" userId="S::jason.melehani@gilead.com::93603e9a-d746-4d7c-89da-7c5ef8b091f7" providerId="AD" clId="Web-{C6538201-356F-6C85-9464-7D1BE099440E}" dt="2024-03-26T19:27:42.441" v="493" actId="20577"/>
          <ac:spMkLst>
            <pc:docMk/>
            <pc:sldMk cId="1685824701" sldId="2147482146"/>
            <ac:spMk id="4" creationId="{3C82F452-0863-3B4E-85D1-65B2DFF1618C}"/>
          </ac:spMkLst>
        </pc:spChg>
        <pc:graphicFrameChg chg="mod">
          <ac:chgData name="Jason Melehani" userId="S::jason.melehani@gilead.com::93603e9a-d746-4d7c-89da-7c5ef8b091f7" providerId="AD" clId="Web-{C6538201-356F-6C85-9464-7D1BE099440E}" dt="2024-03-26T19:25:50.641" v="421" actId="1076"/>
          <ac:graphicFrameMkLst>
            <pc:docMk/>
            <pc:sldMk cId="1685824701" sldId="2147482146"/>
            <ac:graphicFrameMk id="9" creationId="{E90DF69C-569A-F2F7-4560-5E7E49E2E77B}"/>
          </ac:graphicFrameMkLst>
        </pc:graphicFrameChg>
      </pc:sldChg>
      <pc:sldChg chg="addSp delSp modSp modCm">
        <pc:chgData name="Jason Melehani" userId="S::jason.melehani@gilead.com::93603e9a-d746-4d7c-89da-7c5ef8b091f7" providerId="AD" clId="Web-{C6538201-356F-6C85-9464-7D1BE099440E}" dt="2024-03-26T19:21:18.508" v="419"/>
        <pc:sldMkLst>
          <pc:docMk/>
          <pc:sldMk cId="1832365024" sldId="2147482149"/>
        </pc:sldMkLst>
        <pc:spChg chg="add del mod">
          <ac:chgData name="Jason Melehani" userId="S::jason.melehani@gilead.com::93603e9a-d746-4d7c-89da-7c5ef8b091f7" providerId="AD" clId="Web-{C6538201-356F-6C85-9464-7D1BE099440E}" dt="2024-03-26T19:16:13.172" v="172"/>
          <ac:spMkLst>
            <pc:docMk/>
            <pc:sldMk cId="1832365024" sldId="2147482149"/>
            <ac:spMk id="5" creationId="{BDDDDB19-4A49-408B-B2FC-25A55A8782F3}"/>
          </ac:spMkLst>
        </pc:spChg>
        <pc:spChg chg="add mod">
          <ac:chgData name="Jason Melehani" userId="S::jason.melehani@gilead.com::93603e9a-d746-4d7c-89da-7c5ef8b091f7" providerId="AD" clId="Web-{C6538201-356F-6C85-9464-7D1BE099440E}" dt="2024-03-26T19:21:18.508" v="419"/>
          <ac:spMkLst>
            <pc:docMk/>
            <pc:sldMk cId="1832365024" sldId="2147482149"/>
            <ac:spMk id="6" creationId="{1AB96CCB-C26D-C7F6-A698-34F8610FCC72}"/>
          </ac:spMkLst>
        </pc:spChg>
        <pc:spChg chg="mod">
          <ac:chgData name="Jason Melehani" userId="S::jason.melehani@gilead.com::93603e9a-d746-4d7c-89da-7c5ef8b091f7" providerId="AD" clId="Web-{C6538201-356F-6C85-9464-7D1BE099440E}" dt="2024-03-26T19:19:15.474" v="414" actId="14100"/>
          <ac:spMkLst>
            <pc:docMk/>
            <pc:sldMk cId="1832365024" sldId="2147482149"/>
            <ac:spMk id="8" creationId="{8F12C514-1207-0691-263F-F3BC2ACE7F17}"/>
          </ac:spMkLst>
        </pc:spChg>
        <pc:cxnChg chg="mod">
          <ac:chgData name="Jason Melehani" userId="S::jason.melehani@gilead.com::93603e9a-d746-4d7c-89da-7c5ef8b091f7" providerId="AD" clId="Web-{C6538201-356F-6C85-9464-7D1BE099440E}" dt="2024-03-26T19:19:25.146" v="416" actId="14100"/>
          <ac:cxnSpMkLst>
            <pc:docMk/>
            <pc:sldMk cId="1832365024" sldId="2147482149"/>
            <ac:cxnSpMk id="14" creationId="{19EFBBEF-4BBC-629C-C5F6-5BF9E790B505}"/>
          </ac:cxnSpMkLst>
        </pc:cxnChg>
        <pc:cxnChg chg="mod">
          <ac:chgData name="Jason Melehani" userId="S::jason.melehani@gilead.com::93603e9a-d746-4d7c-89da-7c5ef8b091f7" providerId="AD" clId="Web-{C6538201-356F-6C85-9464-7D1BE099440E}" dt="2024-03-26T19:19:11.442" v="412" actId="20577"/>
          <ac:cxnSpMkLst>
            <pc:docMk/>
            <pc:sldMk cId="1832365024" sldId="2147482149"/>
            <ac:cxnSpMk id="24" creationId="{4B144D7C-C43A-7A98-B529-ECF0988EB91A}"/>
          </ac:cxnSpMkLst>
        </pc:cxnChg>
      </pc:sldChg>
    </pc:docChg>
  </pc:docChgLst>
  <pc:docChgLst>
    <pc:chgData name="Lisa Boyette" userId="24cc2e01-2130-4f78-ae8d-8253b197adea" providerId="ADAL" clId="{ED9A2370-4579-466F-8639-5A398BB16289}"/>
    <pc:docChg chg="custSel modSld">
      <pc:chgData name="Lisa Boyette" userId="24cc2e01-2130-4f78-ae8d-8253b197adea" providerId="ADAL" clId="{ED9A2370-4579-466F-8639-5A398BB16289}" dt="2024-05-23T15:19:46.271" v="140" actId="478"/>
      <pc:docMkLst>
        <pc:docMk/>
      </pc:docMkLst>
      <pc:sldChg chg="delSp mod">
        <pc:chgData name="Lisa Boyette" userId="24cc2e01-2130-4f78-ae8d-8253b197adea" providerId="ADAL" clId="{ED9A2370-4579-466F-8639-5A398BB16289}" dt="2024-05-23T15:18:36.574" v="119" actId="478"/>
        <pc:sldMkLst>
          <pc:docMk/>
          <pc:sldMk cId="994719738" sldId="258"/>
        </pc:sldMkLst>
        <pc:spChg chg="del">
          <ac:chgData name="Lisa Boyette" userId="24cc2e01-2130-4f78-ae8d-8253b197adea" providerId="ADAL" clId="{ED9A2370-4579-466F-8639-5A398BB16289}" dt="2024-05-23T15:18:36.574" v="119" actId="478"/>
          <ac:spMkLst>
            <pc:docMk/>
            <pc:sldMk cId="994719738" sldId="258"/>
            <ac:spMk id="3" creationId="{99C3ED9C-D0EB-7104-AA89-BC0FF6A24891}"/>
          </ac:spMkLst>
        </pc:spChg>
      </pc:sldChg>
      <pc:sldChg chg="delSp mod">
        <pc:chgData name="Lisa Boyette" userId="24cc2e01-2130-4f78-ae8d-8253b197adea" providerId="ADAL" clId="{ED9A2370-4579-466F-8639-5A398BB16289}" dt="2024-05-23T15:19:46.271" v="140" actId="478"/>
        <pc:sldMkLst>
          <pc:docMk/>
          <pc:sldMk cId="353268450" sldId="8356"/>
        </pc:sldMkLst>
        <pc:spChg chg="del">
          <ac:chgData name="Lisa Boyette" userId="24cc2e01-2130-4f78-ae8d-8253b197adea" providerId="ADAL" clId="{ED9A2370-4579-466F-8639-5A398BB16289}" dt="2024-05-23T15:19:46.271" v="140" actId="478"/>
          <ac:spMkLst>
            <pc:docMk/>
            <pc:sldMk cId="353268450" sldId="8356"/>
            <ac:spMk id="6" creationId="{6940432E-05B5-F8ED-FE2E-DC1C69F02144}"/>
          </ac:spMkLst>
        </pc:spChg>
      </pc:sldChg>
      <pc:sldChg chg="delSp mod">
        <pc:chgData name="Lisa Boyette" userId="24cc2e01-2130-4f78-ae8d-8253b197adea" providerId="ADAL" clId="{ED9A2370-4579-466F-8639-5A398BB16289}" dt="2024-05-23T15:18:45.846" v="121" actId="478"/>
        <pc:sldMkLst>
          <pc:docMk/>
          <pc:sldMk cId="3841480617" sldId="2141411687"/>
        </pc:sldMkLst>
        <pc:spChg chg="del">
          <ac:chgData name="Lisa Boyette" userId="24cc2e01-2130-4f78-ae8d-8253b197adea" providerId="ADAL" clId="{ED9A2370-4579-466F-8639-5A398BB16289}" dt="2024-05-23T15:18:45.846" v="121" actId="478"/>
          <ac:spMkLst>
            <pc:docMk/>
            <pc:sldMk cId="3841480617" sldId="2141411687"/>
            <ac:spMk id="6" creationId="{7F7F7FC9-D5A4-A234-BC17-6BE35AC01075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7:31.045" v="84" actId="20577"/>
        <pc:sldMkLst>
          <pc:docMk/>
          <pc:sldMk cId="1086338696" sldId="2146847517"/>
        </pc:sldMkLst>
        <pc:spChg chg="del">
          <ac:chgData name="Lisa Boyette" userId="24cc2e01-2130-4f78-ae8d-8253b197adea" providerId="ADAL" clId="{ED9A2370-4579-466F-8639-5A398BB16289}" dt="2024-05-23T15:17:27.990" v="77" actId="478"/>
          <ac:spMkLst>
            <pc:docMk/>
            <pc:sldMk cId="1086338696" sldId="2146847517"/>
            <ac:spMk id="5" creationId="{857D6CCD-9747-4F1A-971E-E4F41ED2FF5F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7:18.419" v="68" actId="20577"/>
        <pc:sldMkLst>
          <pc:docMk/>
          <pc:sldMk cId="3998398124" sldId="2146847936"/>
        </pc:sldMkLst>
        <pc:spChg chg="del">
          <ac:chgData name="Lisa Boyette" userId="24cc2e01-2130-4f78-ae8d-8253b197adea" providerId="ADAL" clId="{ED9A2370-4579-466F-8639-5A398BB16289}" dt="2024-05-23T15:17:12.006" v="61" actId="478"/>
          <ac:spMkLst>
            <pc:docMk/>
            <pc:sldMk cId="3998398124" sldId="2146847936"/>
            <ac:spMk id="2" creationId="{89286B85-193D-36CE-EBBA-45950C3ACE5E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7:24.838" v="76" actId="20577"/>
        <pc:sldMkLst>
          <pc:docMk/>
          <pc:sldMk cId="2212317420" sldId="2146847938"/>
        </pc:sldMkLst>
        <pc:spChg chg="del">
          <ac:chgData name="Lisa Boyette" userId="24cc2e01-2130-4f78-ae8d-8253b197adea" providerId="ADAL" clId="{ED9A2370-4579-466F-8639-5A398BB16289}" dt="2024-05-23T15:17:21.855" v="69" actId="478"/>
          <ac:spMkLst>
            <pc:docMk/>
            <pc:sldMk cId="2212317420" sldId="2146847938"/>
            <ac:spMk id="3" creationId="{2802ABD3-2867-8E33-E19B-3A213394F13D}"/>
          </ac:spMkLst>
        </pc:spChg>
      </pc:sldChg>
      <pc:sldChg chg="delSp mod">
        <pc:chgData name="Lisa Boyette" userId="24cc2e01-2130-4f78-ae8d-8253b197adea" providerId="ADAL" clId="{ED9A2370-4579-466F-8639-5A398BB16289}" dt="2024-05-23T15:13:17.835" v="0" actId="478"/>
        <pc:sldMkLst>
          <pc:docMk/>
          <pc:sldMk cId="946590102" sldId="2147308821"/>
        </pc:sldMkLst>
        <pc:spChg chg="del">
          <ac:chgData name="Lisa Boyette" userId="24cc2e01-2130-4f78-ae8d-8253b197adea" providerId="ADAL" clId="{ED9A2370-4579-466F-8639-5A398BB16289}" dt="2024-05-23T15:13:17.835" v="0" actId="478"/>
          <ac:spMkLst>
            <pc:docMk/>
            <pc:sldMk cId="946590102" sldId="2147308821"/>
            <ac:spMk id="5" creationId="{2AF73EFC-509E-8DDD-79BE-61C43B458B18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4:43.637" v="12" actId="20577"/>
        <pc:sldMkLst>
          <pc:docMk/>
          <pc:sldMk cId="11518599" sldId="2147308834"/>
        </pc:sldMkLst>
        <pc:spChg chg="del">
          <ac:chgData name="Lisa Boyette" userId="24cc2e01-2130-4f78-ae8d-8253b197adea" providerId="ADAL" clId="{ED9A2370-4579-466F-8639-5A398BB16289}" dt="2024-05-23T15:14:04.287" v="2" actId="478"/>
          <ac:spMkLst>
            <pc:docMk/>
            <pc:sldMk cId="11518599" sldId="2147308834"/>
            <ac:spMk id="5" creationId="{D78F49D8-0909-3715-2933-54D2CCDB7AEF}"/>
          </ac:spMkLst>
        </pc:spChg>
      </pc:sldChg>
      <pc:sldChg chg="delSp mod">
        <pc:chgData name="Lisa Boyette" userId="24cc2e01-2130-4f78-ae8d-8253b197adea" providerId="ADAL" clId="{ED9A2370-4579-466F-8639-5A398BB16289}" dt="2024-05-23T15:19:13.614" v="130" actId="478"/>
        <pc:sldMkLst>
          <pc:docMk/>
          <pc:sldMk cId="1267803031" sldId="2147472415"/>
        </pc:sldMkLst>
        <pc:spChg chg="del">
          <ac:chgData name="Lisa Boyette" userId="24cc2e01-2130-4f78-ae8d-8253b197adea" providerId="ADAL" clId="{ED9A2370-4579-466F-8639-5A398BB16289}" dt="2024-05-23T15:19:13.614" v="130" actId="478"/>
          <ac:spMkLst>
            <pc:docMk/>
            <pc:sldMk cId="1267803031" sldId="2147472415"/>
            <ac:spMk id="4" creationId="{ED73B867-57A5-A2EA-1221-97E3DE18ECD9}"/>
          </ac:spMkLst>
        </pc:spChg>
      </pc:sldChg>
      <pc:sldChg chg="delSp mod">
        <pc:chgData name="Lisa Boyette" userId="24cc2e01-2130-4f78-ae8d-8253b197adea" providerId="ADAL" clId="{ED9A2370-4579-466F-8639-5A398BB16289}" dt="2024-05-23T15:19:29.301" v="135" actId="478"/>
        <pc:sldMkLst>
          <pc:docMk/>
          <pc:sldMk cId="3190076938" sldId="2147472670"/>
        </pc:sldMkLst>
        <pc:spChg chg="del">
          <ac:chgData name="Lisa Boyette" userId="24cc2e01-2130-4f78-ae8d-8253b197adea" providerId="ADAL" clId="{ED9A2370-4579-466F-8639-5A398BB16289}" dt="2024-05-23T15:19:29.301" v="135" actId="478"/>
          <ac:spMkLst>
            <pc:docMk/>
            <pc:sldMk cId="3190076938" sldId="2147472670"/>
            <ac:spMk id="10" creationId="{B82AABB6-EA71-F1CD-075F-CB56DD8FCE47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5:33.831" v="23" actId="20577"/>
        <pc:sldMkLst>
          <pc:docMk/>
          <pc:sldMk cId="2387627038" sldId="2147479354"/>
        </pc:sldMkLst>
        <pc:spChg chg="del">
          <ac:chgData name="Lisa Boyette" userId="24cc2e01-2130-4f78-ae8d-8253b197adea" providerId="ADAL" clId="{ED9A2370-4579-466F-8639-5A398BB16289}" dt="2024-05-23T15:15:31.662" v="18" actId="478"/>
          <ac:spMkLst>
            <pc:docMk/>
            <pc:sldMk cId="2387627038" sldId="2147479354"/>
            <ac:spMk id="3" creationId="{2DB36856-CD04-79E6-A033-A8C8B6FA8379}"/>
          </ac:spMkLst>
        </pc:spChg>
      </pc:sldChg>
      <pc:sldChg chg="delSp mod">
        <pc:chgData name="Lisa Boyette" userId="24cc2e01-2130-4f78-ae8d-8253b197adea" providerId="ADAL" clId="{ED9A2370-4579-466F-8639-5A398BB16289}" dt="2024-05-23T15:19:10.437" v="129" actId="478"/>
        <pc:sldMkLst>
          <pc:docMk/>
          <pc:sldMk cId="4285167944" sldId="2147479356"/>
        </pc:sldMkLst>
        <pc:spChg chg="del">
          <ac:chgData name="Lisa Boyette" userId="24cc2e01-2130-4f78-ae8d-8253b197adea" providerId="ADAL" clId="{ED9A2370-4579-466F-8639-5A398BB16289}" dt="2024-05-23T15:19:10.437" v="129" actId="478"/>
          <ac:spMkLst>
            <pc:docMk/>
            <pc:sldMk cId="4285167944" sldId="2147479356"/>
            <ac:spMk id="3" creationId="{7989E4A4-271A-31D1-7DB2-B11836804530}"/>
          </ac:spMkLst>
        </pc:spChg>
      </pc:sldChg>
      <pc:sldChg chg="delSp mod">
        <pc:chgData name="Lisa Boyette" userId="24cc2e01-2130-4f78-ae8d-8253b197adea" providerId="ADAL" clId="{ED9A2370-4579-466F-8639-5A398BB16289}" dt="2024-05-23T15:18:49.975" v="122" actId="478"/>
        <pc:sldMkLst>
          <pc:docMk/>
          <pc:sldMk cId="846570333" sldId="2147479418"/>
        </pc:sldMkLst>
        <pc:spChg chg="del">
          <ac:chgData name="Lisa Boyette" userId="24cc2e01-2130-4f78-ae8d-8253b197adea" providerId="ADAL" clId="{ED9A2370-4579-466F-8639-5A398BB16289}" dt="2024-05-23T15:18:49.975" v="122" actId="478"/>
          <ac:spMkLst>
            <pc:docMk/>
            <pc:sldMk cId="846570333" sldId="2147479418"/>
            <ac:spMk id="4" creationId="{06FAF127-4115-6FCD-7357-1B328B269248}"/>
          </ac:spMkLst>
        </pc:spChg>
      </pc:sldChg>
      <pc:sldChg chg="delSp mod">
        <pc:chgData name="Lisa Boyette" userId="24cc2e01-2130-4f78-ae8d-8253b197adea" providerId="ADAL" clId="{ED9A2370-4579-466F-8639-5A398BB16289}" dt="2024-05-23T15:19:07.174" v="128" actId="478"/>
        <pc:sldMkLst>
          <pc:docMk/>
          <pc:sldMk cId="868624985" sldId="2147479419"/>
        </pc:sldMkLst>
        <pc:spChg chg="del">
          <ac:chgData name="Lisa Boyette" userId="24cc2e01-2130-4f78-ae8d-8253b197adea" providerId="ADAL" clId="{ED9A2370-4579-466F-8639-5A398BB16289}" dt="2024-05-23T15:19:07.174" v="128" actId="478"/>
          <ac:spMkLst>
            <pc:docMk/>
            <pc:sldMk cId="868624985" sldId="2147479419"/>
            <ac:spMk id="4" creationId="{57A36D80-B592-8F51-7E66-24E281249BE6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4:39.981" v="8" actId="20577"/>
        <pc:sldMkLst>
          <pc:docMk/>
          <pc:sldMk cId="3183540392" sldId="2147479420"/>
        </pc:sldMkLst>
        <pc:spChg chg="del">
          <ac:chgData name="Lisa Boyette" userId="24cc2e01-2130-4f78-ae8d-8253b197adea" providerId="ADAL" clId="{ED9A2370-4579-466F-8639-5A398BB16289}" dt="2024-05-23T15:14:17.623" v="4" actId="478"/>
          <ac:spMkLst>
            <pc:docMk/>
            <pc:sldMk cId="3183540392" sldId="2147479420"/>
            <ac:spMk id="31" creationId="{A6992C24-8983-1754-26A5-4497D910AC3F}"/>
          </ac:spMkLst>
        </pc:spChg>
      </pc:sldChg>
      <pc:sldChg chg="delSp mod">
        <pc:chgData name="Lisa Boyette" userId="24cc2e01-2130-4f78-ae8d-8253b197adea" providerId="ADAL" clId="{ED9A2370-4579-466F-8639-5A398BB16289}" dt="2024-05-23T15:18:43.261" v="120" actId="478"/>
        <pc:sldMkLst>
          <pc:docMk/>
          <pc:sldMk cId="64672287" sldId="2147479427"/>
        </pc:sldMkLst>
        <pc:spChg chg="del">
          <ac:chgData name="Lisa Boyette" userId="24cc2e01-2130-4f78-ae8d-8253b197adea" providerId="ADAL" clId="{ED9A2370-4579-466F-8639-5A398BB16289}" dt="2024-05-23T15:18:43.261" v="120" actId="478"/>
          <ac:spMkLst>
            <pc:docMk/>
            <pc:sldMk cId="64672287" sldId="2147479427"/>
            <ac:spMk id="4" creationId="{619CBEAD-7ACF-0FBA-BBF8-6946F7BDBCF9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8:22.340" v="113" actId="20577"/>
        <pc:sldMkLst>
          <pc:docMk/>
          <pc:sldMk cId="3049584673" sldId="2147479431"/>
        </pc:sldMkLst>
        <pc:spChg chg="del">
          <ac:chgData name="Lisa Boyette" userId="24cc2e01-2130-4f78-ae8d-8253b197adea" providerId="ADAL" clId="{ED9A2370-4579-466F-8639-5A398BB16289}" dt="2024-05-23T15:18:09.800" v="109" actId="478"/>
          <ac:spMkLst>
            <pc:docMk/>
            <pc:sldMk cId="3049584673" sldId="2147479431"/>
            <ac:spMk id="5" creationId="{B7A0A442-BC92-C3E8-EF87-E3DD69F48CDD}"/>
          </ac:spMkLst>
        </pc:spChg>
      </pc:sldChg>
      <pc:sldChg chg="delSp mod">
        <pc:chgData name="Lisa Boyette" userId="24cc2e01-2130-4f78-ae8d-8253b197adea" providerId="ADAL" clId="{ED9A2370-4579-466F-8639-5A398BB16289}" dt="2024-05-23T15:19:17.357" v="131" actId="478"/>
        <pc:sldMkLst>
          <pc:docMk/>
          <pc:sldMk cId="1179079080" sldId="2147479436"/>
        </pc:sldMkLst>
        <pc:spChg chg="del">
          <ac:chgData name="Lisa Boyette" userId="24cc2e01-2130-4f78-ae8d-8253b197adea" providerId="ADAL" clId="{ED9A2370-4579-466F-8639-5A398BB16289}" dt="2024-05-23T15:19:17.357" v="131" actId="478"/>
          <ac:spMkLst>
            <pc:docMk/>
            <pc:sldMk cId="1179079080" sldId="2147479436"/>
            <ac:spMk id="3" creationId="{D4B6AA93-D3FC-568C-DC9C-3152BFCEF6A1}"/>
          </ac:spMkLst>
        </pc:spChg>
      </pc:sldChg>
      <pc:sldChg chg="delSp mod">
        <pc:chgData name="Lisa Boyette" userId="24cc2e01-2130-4f78-ae8d-8253b197adea" providerId="ADAL" clId="{ED9A2370-4579-466F-8639-5A398BB16289}" dt="2024-05-23T15:17:35.782" v="85" actId="478"/>
        <pc:sldMkLst>
          <pc:docMk/>
          <pc:sldMk cId="3151860006" sldId="2147479462"/>
        </pc:sldMkLst>
        <pc:spChg chg="del">
          <ac:chgData name="Lisa Boyette" userId="24cc2e01-2130-4f78-ae8d-8253b197adea" providerId="ADAL" clId="{ED9A2370-4579-466F-8639-5A398BB16289}" dt="2024-05-23T15:17:35.782" v="85" actId="478"/>
          <ac:spMkLst>
            <pc:docMk/>
            <pc:sldMk cId="3151860006" sldId="2147479462"/>
            <ac:spMk id="11" creationId="{3B9A374B-F99B-A7B0-099A-DFA62F6D62C9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7:43.246" v="93" actId="478"/>
        <pc:sldMkLst>
          <pc:docMk/>
          <pc:sldMk cId="2923371731" sldId="2147479473"/>
        </pc:sldMkLst>
        <pc:spChg chg="del">
          <ac:chgData name="Lisa Boyette" userId="24cc2e01-2130-4f78-ae8d-8253b197adea" providerId="ADAL" clId="{ED9A2370-4579-466F-8639-5A398BB16289}" dt="2024-05-23T15:17:43.246" v="93" actId="478"/>
          <ac:spMkLst>
            <pc:docMk/>
            <pc:sldMk cId="2923371731" sldId="2147479473"/>
            <ac:spMk id="4" creationId="{EE62AAE5-AFEF-684E-19D9-7CE2DA5DFC9B}"/>
          </ac:spMkLst>
        </pc:spChg>
      </pc:sldChg>
      <pc:sldChg chg="delSp mod">
        <pc:chgData name="Lisa Boyette" userId="24cc2e01-2130-4f78-ae8d-8253b197adea" providerId="ADAL" clId="{ED9A2370-4579-466F-8639-5A398BB16289}" dt="2024-05-23T15:19:00.501" v="126" actId="478"/>
        <pc:sldMkLst>
          <pc:docMk/>
          <pc:sldMk cId="572539407" sldId="2147479474"/>
        </pc:sldMkLst>
        <pc:spChg chg="del">
          <ac:chgData name="Lisa Boyette" userId="24cc2e01-2130-4f78-ae8d-8253b197adea" providerId="ADAL" clId="{ED9A2370-4579-466F-8639-5A398BB16289}" dt="2024-05-23T15:19:00.501" v="126" actId="478"/>
          <ac:spMkLst>
            <pc:docMk/>
            <pc:sldMk cId="572539407" sldId="2147479474"/>
            <ac:spMk id="3" creationId="{7C9779F2-C79E-6AEF-66E2-87C0888979D8}"/>
          </ac:spMkLst>
        </pc:spChg>
      </pc:sldChg>
      <pc:sldChg chg="addSp delSp modSp mod">
        <pc:chgData name="Lisa Boyette" userId="24cc2e01-2130-4f78-ae8d-8253b197adea" providerId="ADAL" clId="{ED9A2370-4579-466F-8639-5A398BB16289}" dt="2024-05-23T15:18:56.080" v="125" actId="478"/>
        <pc:sldMkLst>
          <pc:docMk/>
          <pc:sldMk cId="188725729" sldId="2147479475"/>
        </pc:sldMkLst>
        <pc:spChg chg="add del">
          <ac:chgData name="Lisa Boyette" userId="24cc2e01-2130-4f78-ae8d-8253b197adea" providerId="ADAL" clId="{ED9A2370-4579-466F-8639-5A398BB16289}" dt="2024-05-23T15:18:53.907" v="124" actId="478"/>
          <ac:spMkLst>
            <pc:docMk/>
            <pc:sldMk cId="188725729" sldId="2147479475"/>
            <ac:spMk id="2" creationId="{00000000-0000-0000-0000-000000000000}"/>
          </ac:spMkLst>
        </pc:spChg>
        <pc:spChg chg="del">
          <ac:chgData name="Lisa Boyette" userId="24cc2e01-2130-4f78-ae8d-8253b197adea" providerId="ADAL" clId="{ED9A2370-4579-466F-8639-5A398BB16289}" dt="2024-05-23T15:18:56.080" v="125" actId="478"/>
          <ac:spMkLst>
            <pc:docMk/>
            <pc:sldMk cId="188725729" sldId="2147479475"/>
            <ac:spMk id="4" creationId="{DE63497F-3B88-8373-8E81-9ED61657E42C}"/>
          </ac:spMkLst>
        </pc:spChg>
        <pc:spChg chg="add del mod">
          <ac:chgData name="Lisa Boyette" userId="24cc2e01-2130-4f78-ae8d-8253b197adea" providerId="ADAL" clId="{ED9A2370-4579-466F-8639-5A398BB16289}" dt="2024-05-23T15:18:53.907" v="124" actId="478"/>
          <ac:spMkLst>
            <pc:docMk/>
            <pc:sldMk cId="188725729" sldId="2147479475"/>
            <ac:spMk id="5" creationId="{FEF9FF23-DE24-CD64-ABBF-76794392E52D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7:54.486" v="100" actId="478"/>
        <pc:sldMkLst>
          <pc:docMk/>
          <pc:sldMk cId="2761666500" sldId="2147479478"/>
        </pc:sldMkLst>
        <pc:spChg chg="del">
          <ac:chgData name="Lisa Boyette" userId="24cc2e01-2130-4f78-ae8d-8253b197adea" providerId="ADAL" clId="{ED9A2370-4579-466F-8639-5A398BB16289}" dt="2024-05-23T15:17:54.486" v="100" actId="478"/>
          <ac:spMkLst>
            <pc:docMk/>
            <pc:sldMk cId="2761666500" sldId="2147479478"/>
            <ac:spMk id="6" creationId="{843B4713-84E8-7474-6897-958B7CBBF4E6}"/>
          </ac:spMkLst>
        </pc:spChg>
      </pc:sldChg>
      <pc:sldChg chg="delSp mod">
        <pc:chgData name="Lisa Boyette" userId="24cc2e01-2130-4f78-ae8d-8253b197adea" providerId="ADAL" clId="{ED9A2370-4579-466F-8639-5A398BB16289}" dt="2024-05-23T15:19:39.863" v="138" actId="478"/>
        <pc:sldMkLst>
          <pc:docMk/>
          <pc:sldMk cId="1858045540" sldId="2147479482"/>
        </pc:sldMkLst>
        <pc:spChg chg="del">
          <ac:chgData name="Lisa Boyette" userId="24cc2e01-2130-4f78-ae8d-8253b197adea" providerId="ADAL" clId="{ED9A2370-4579-466F-8639-5A398BB16289}" dt="2024-05-23T15:19:39.863" v="138" actId="478"/>
          <ac:spMkLst>
            <pc:docMk/>
            <pc:sldMk cId="1858045540" sldId="2147479482"/>
            <ac:spMk id="5" creationId="{60E5F957-24F0-BF82-40A4-6C4C17EE7824}"/>
          </ac:spMkLst>
        </pc:spChg>
      </pc:sldChg>
      <pc:sldChg chg="delSp modSp mod modCm modNotesTx">
        <pc:chgData name="Lisa Boyette" userId="24cc2e01-2130-4f78-ae8d-8253b197adea" providerId="ADAL" clId="{ED9A2370-4579-466F-8639-5A398BB16289}" dt="2024-05-23T15:16:58.015" v="60" actId="478"/>
        <pc:sldMkLst>
          <pc:docMk/>
          <pc:sldMk cId="1566014954" sldId="2147479483"/>
        </pc:sldMkLst>
        <pc:spChg chg="mod">
          <ac:chgData name="Lisa Boyette" userId="24cc2e01-2130-4f78-ae8d-8253b197adea" providerId="ADAL" clId="{ED9A2370-4579-466F-8639-5A398BB16289}" dt="2024-05-23T15:16:55.039" v="59" actId="20577"/>
          <ac:spMkLst>
            <pc:docMk/>
            <pc:sldMk cId="1566014954" sldId="2147479483"/>
            <ac:spMk id="2" creationId="{34DFD4A2-E6AB-49DB-98F5-A35A4BF71327}"/>
          </ac:spMkLst>
        </pc:spChg>
        <pc:spChg chg="del">
          <ac:chgData name="Lisa Boyette" userId="24cc2e01-2130-4f78-ae8d-8253b197adea" providerId="ADAL" clId="{ED9A2370-4579-466F-8639-5A398BB16289}" dt="2024-05-23T15:16:58.015" v="60" actId="478"/>
          <ac:spMkLst>
            <pc:docMk/>
            <pc:sldMk cId="1566014954" sldId="2147479483"/>
            <ac:spMk id="6" creationId="{9E5BC5AA-B70A-323B-62EF-15B7DCC695E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isa Boyette" userId="24cc2e01-2130-4f78-ae8d-8253b197adea" providerId="ADAL" clId="{ED9A2370-4579-466F-8639-5A398BB16289}" dt="2024-05-23T15:16:55.039" v="59" actId="20577"/>
              <pc2:cmMkLst xmlns:pc2="http://schemas.microsoft.com/office/powerpoint/2019/9/main/command">
                <pc:docMk/>
                <pc:sldMk cId="1566014954" sldId="2147479483"/>
                <pc2:cmMk id="{4B7B1423-E55E-4C63-9E93-07B5ED9186D0}"/>
              </pc2:cmMkLst>
            </pc226:cmChg>
          </p:ext>
        </pc:extLst>
      </pc:sldChg>
      <pc:sldChg chg="delSp mod modNotesTx">
        <pc:chgData name="Lisa Boyette" userId="24cc2e01-2130-4f78-ae8d-8253b197adea" providerId="ADAL" clId="{ED9A2370-4579-466F-8639-5A398BB16289}" dt="2024-05-23T15:15:37.161" v="27" actId="20577"/>
        <pc:sldMkLst>
          <pc:docMk/>
          <pc:sldMk cId="2853942534" sldId="2147482124"/>
        </pc:sldMkLst>
        <pc:spChg chg="del">
          <ac:chgData name="Lisa Boyette" userId="24cc2e01-2130-4f78-ae8d-8253b197adea" providerId="ADAL" clId="{ED9A2370-4579-466F-8639-5A398BB16289}" dt="2024-05-23T15:15:24.696" v="17" actId="478"/>
          <ac:spMkLst>
            <pc:docMk/>
            <pc:sldMk cId="2853942534" sldId="2147482124"/>
            <ac:spMk id="8" creationId="{4023A4C8-BB23-0508-6A9C-7F16122CE29F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5:44.494" v="33" actId="478"/>
        <pc:sldMkLst>
          <pc:docMk/>
          <pc:sldMk cId="322481365" sldId="2147482129"/>
        </pc:sldMkLst>
        <pc:spChg chg="del">
          <ac:chgData name="Lisa Boyette" userId="24cc2e01-2130-4f78-ae8d-8253b197adea" providerId="ADAL" clId="{ED9A2370-4579-466F-8639-5A398BB16289}" dt="2024-05-23T15:15:44.494" v="33" actId="478"/>
          <ac:spMkLst>
            <pc:docMk/>
            <pc:sldMk cId="322481365" sldId="2147482129"/>
            <ac:spMk id="4" creationId="{49009976-D843-53BA-8D2A-E24C283F32EA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6:42.433" v="45" actId="20577"/>
        <pc:sldMkLst>
          <pc:docMk/>
          <pc:sldMk cId="3407814504" sldId="2147482130"/>
        </pc:sldMkLst>
        <pc:spChg chg="del">
          <ac:chgData name="Lisa Boyette" userId="24cc2e01-2130-4f78-ae8d-8253b197adea" providerId="ADAL" clId="{ED9A2370-4579-466F-8639-5A398BB16289}" dt="2024-05-23T15:16:27.814" v="40" actId="478"/>
          <ac:spMkLst>
            <pc:docMk/>
            <pc:sldMk cId="3407814504" sldId="2147482130"/>
            <ac:spMk id="2" creationId="{799A07E3-837A-C468-4205-E6A3E394E0C9}"/>
          </ac:spMkLst>
        </pc:spChg>
      </pc:sldChg>
      <pc:sldChg chg="delSp mod">
        <pc:chgData name="Lisa Boyette" userId="24cc2e01-2130-4f78-ae8d-8253b197adea" providerId="ADAL" clId="{ED9A2370-4579-466F-8639-5A398BB16289}" dt="2024-05-23T15:14:07.790" v="3" actId="478"/>
        <pc:sldMkLst>
          <pc:docMk/>
          <pc:sldMk cId="3187643702" sldId="2147482132"/>
        </pc:sldMkLst>
        <pc:spChg chg="del">
          <ac:chgData name="Lisa Boyette" userId="24cc2e01-2130-4f78-ae8d-8253b197adea" providerId="ADAL" clId="{ED9A2370-4579-466F-8639-5A398BB16289}" dt="2024-05-23T15:14:07.790" v="3" actId="478"/>
          <ac:spMkLst>
            <pc:docMk/>
            <pc:sldMk cId="3187643702" sldId="2147482132"/>
            <ac:spMk id="3" creationId="{2DB36856-CD04-79E6-A033-A8C8B6FA8379}"/>
          </ac:spMkLst>
        </pc:spChg>
      </pc:sldChg>
      <pc:sldChg chg="delSp mod">
        <pc:chgData name="Lisa Boyette" userId="24cc2e01-2130-4f78-ae8d-8253b197adea" providerId="ADAL" clId="{ED9A2370-4579-466F-8639-5A398BB16289}" dt="2024-05-23T15:19:19.797" v="132" actId="478"/>
        <pc:sldMkLst>
          <pc:docMk/>
          <pc:sldMk cId="2262082012" sldId="2147482138"/>
        </pc:sldMkLst>
        <pc:spChg chg="del">
          <ac:chgData name="Lisa Boyette" userId="24cc2e01-2130-4f78-ae8d-8253b197adea" providerId="ADAL" clId="{ED9A2370-4579-466F-8639-5A398BB16289}" dt="2024-05-23T15:19:19.797" v="132" actId="478"/>
          <ac:spMkLst>
            <pc:docMk/>
            <pc:sldMk cId="2262082012" sldId="2147482138"/>
            <ac:spMk id="5" creationId="{647251AF-70D3-3D23-8D90-4308F93FCBB8}"/>
          </ac:spMkLst>
        </pc:spChg>
      </pc:sldChg>
      <pc:sldChg chg="delSp mod">
        <pc:chgData name="Lisa Boyette" userId="24cc2e01-2130-4f78-ae8d-8253b197adea" providerId="ADAL" clId="{ED9A2370-4579-466F-8639-5A398BB16289}" dt="2024-05-23T15:19:21.759" v="133" actId="478"/>
        <pc:sldMkLst>
          <pc:docMk/>
          <pc:sldMk cId="1250735742" sldId="2147482140"/>
        </pc:sldMkLst>
        <pc:spChg chg="del">
          <ac:chgData name="Lisa Boyette" userId="24cc2e01-2130-4f78-ae8d-8253b197adea" providerId="ADAL" clId="{ED9A2370-4579-466F-8639-5A398BB16289}" dt="2024-05-23T15:19:21.759" v="133" actId="478"/>
          <ac:spMkLst>
            <pc:docMk/>
            <pc:sldMk cId="1250735742" sldId="2147482140"/>
            <ac:spMk id="8" creationId="{E1D4085A-2DEE-D56D-3A70-5A9E633C44D7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4:46.661" v="16" actId="20577"/>
        <pc:sldMkLst>
          <pc:docMk/>
          <pc:sldMk cId="2837651119" sldId="2147482142"/>
        </pc:sldMkLst>
        <pc:spChg chg="del">
          <ac:chgData name="Lisa Boyette" userId="24cc2e01-2130-4f78-ae8d-8253b197adea" providerId="ADAL" clId="{ED9A2370-4579-466F-8639-5A398BB16289}" dt="2024-05-23T15:13:27.118" v="1" actId="478"/>
          <ac:spMkLst>
            <pc:docMk/>
            <pc:sldMk cId="2837651119" sldId="2147482142"/>
            <ac:spMk id="5" creationId="{9723E982-6C7D-DDFF-543B-2897C8039BDD}"/>
          </ac:spMkLst>
        </pc:spChg>
      </pc:sldChg>
      <pc:sldChg chg="delSp mod">
        <pc:chgData name="Lisa Boyette" userId="24cc2e01-2130-4f78-ae8d-8253b197adea" providerId="ADAL" clId="{ED9A2370-4579-466F-8639-5A398BB16289}" dt="2024-05-23T15:19:36.661" v="137" actId="478"/>
        <pc:sldMkLst>
          <pc:docMk/>
          <pc:sldMk cId="361833081" sldId="2147482145"/>
        </pc:sldMkLst>
        <pc:spChg chg="del">
          <ac:chgData name="Lisa Boyette" userId="24cc2e01-2130-4f78-ae8d-8253b197adea" providerId="ADAL" clId="{ED9A2370-4579-466F-8639-5A398BB16289}" dt="2024-05-23T15:19:36.661" v="137" actId="478"/>
          <ac:spMkLst>
            <pc:docMk/>
            <pc:sldMk cId="361833081" sldId="2147482145"/>
            <ac:spMk id="3" creationId="{5898BD80-01F8-5133-3237-8BD9714F834A}"/>
          </ac:spMkLst>
        </pc:spChg>
      </pc:sldChg>
      <pc:sldChg chg="delSp mod">
        <pc:chgData name="Lisa Boyette" userId="24cc2e01-2130-4f78-ae8d-8253b197adea" providerId="ADAL" clId="{ED9A2370-4579-466F-8639-5A398BB16289}" dt="2024-05-23T15:19:25.445" v="134" actId="478"/>
        <pc:sldMkLst>
          <pc:docMk/>
          <pc:sldMk cId="1685824701" sldId="2147482146"/>
        </pc:sldMkLst>
        <pc:spChg chg="del">
          <ac:chgData name="Lisa Boyette" userId="24cc2e01-2130-4f78-ae8d-8253b197adea" providerId="ADAL" clId="{ED9A2370-4579-466F-8639-5A398BB16289}" dt="2024-05-23T15:19:25.445" v="134" actId="478"/>
          <ac:spMkLst>
            <pc:docMk/>
            <pc:sldMk cId="1685824701" sldId="2147482146"/>
            <ac:spMk id="5" creationId="{5B450D84-C9A0-F36F-B851-97D9039CE75C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8:04.886" v="108" actId="20577"/>
        <pc:sldMkLst>
          <pc:docMk/>
          <pc:sldMk cId="1832365024" sldId="2147482149"/>
        </pc:sldMkLst>
        <pc:spChg chg="del">
          <ac:chgData name="Lisa Boyette" userId="24cc2e01-2130-4f78-ae8d-8253b197adea" providerId="ADAL" clId="{ED9A2370-4579-466F-8639-5A398BB16289}" dt="2024-05-23T15:18:02.030" v="101" actId="478"/>
          <ac:spMkLst>
            <pc:docMk/>
            <pc:sldMk cId="1832365024" sldId="2147482149"/>
            <ac:spMk id="3" creationId="{293F5D90-6AE4-4075-B707-5CCE8CBC3F16}"/>
          </ac:spMkLst>
        </pc:spChg>
      </pc:sldChg>
      <pc:sldChg chg="delSp mod">
        <pc:chgData name="Lisa Boyette" userId="24cc2e01-2130-4f78-ae8d-8253b197adea" providerId="ADAL" clId="{ED9A2370-4579-466F-8639-5A398BB16289}" dt="2024-05-23T15:19:32.847" v="136" actId="478"/>
        <pc:sldMkLst>
          <pc:docMk/>
          <pc:sldMk cId="2116408602" sldId="2147482151"/>
        </pc:sldMkLst>
        <pc:spChg chg="del">
          <ac:chgData name="Lisa Boyette" userId="24cc2e01-2130-4f78-ae8d-8253b197adea" providerId="ADAL" clId="{ED9A2370-4579-466F-8639-5A398BB16289}" dt="2024-05-23T15:19:32.847" v="136" actId="478"/>
          <ac:spMkLst>
            <pc:docMk/>
            <pc:sldMk cId="2116408602" sldId="2147482151"/>
            <ac:spMk id="5" creationId="{CDE33A5D-306F-5BD6-3479-71046E4326D7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8:32.318" v="118" actId="478"/>
        <pc:sldMkLst>
          <pc:docMk/>
          <pc:sldMk cId="896328540" sldId="2147482153"/>
        </pc:sldMkLst>
        <pc:picChg chg="del">
          <ac:chgData name="Lisa Boyette" userId="24cc2e01-2130-4f78-ae8d-8253b197adea" providerId="ADAL" clId="{ED9A2370-4579-466F-8639-5A398BB16289}" dt="2024-05-23T15:18:32.318" v="118" actId="478"/>
          <ac:picMkLst>
            <pc:docMk/>
            <pc:sldMk cId="896328540" sldId="2147482153"/>
            <ac:picMk id="4" creationId="{F575E6FF-48BC-F369-9767-7766DC09E4E3}"/>
          </ac:picMkLst>
        </pc:picChg>
      </pc:sldChg>
      <pc:sldChg chg="delSp mod">
        <pc:chgData name="Lisa Boyette" userId="24cc2e01-2130-4f78-ae8d-8253b197adea" providerId="ADAL" clId="{ED9A2370-4579-466F-8639-5A398BB16289}" dt="2024-05-23T15:19:03.581" v="127" actId="478"/>
        <pc:sldMkLst>
          <pc:docMk/>
          <pc:sldMk cId="64601131" sldId="2147482154"/>
        </pc:sldMkLst>
        <pc:spChg chg="del">
          <ac:chgData name="Lisa Boyette" userId="24cc2e01-2130-4f78-ae8d-8253b197adea" providerId="ADAL" clId="{ED9A2370-4579-466F-8639-5A398BB16289}" dt="2024-05-23T15:19:03.581" v="127" actId="478"/>
          <ac:spMkLst>
            <pc:docMk/>
            <pc:sldMk cId="64601131" sldId="2147482154"/>
            <ac:spMk id="3" creationId="{7C9779F2-C79E-6AEF-66E2-87C0888979D8}"/>
          </ac:spMkLst>
        </pc:spChg>
      </pc:sldChg>
      <pc:sldChg chg="delSp mod modNotesTx">
        <pc:chgData name="Lisa Boyette" userId="24cc2e01-2130-4f78-ae8d-8253b197adea" providerId="ADAL" clId="{ED9A2370-4579-466F-8639-5A398BB16289}" dt="2024-05-23T15:15:58.310" v="39" actId="20577"/>
        <pc:sldMkLst>
          <pc:docMk/>
          <pc:sldMk cId="1299719781" sldId="2147482156"/>
        </pc:sldMkLst>
        <pc:spChg chg="del">
          <ac:chgData name="Lisa Boyette" userId="24cc2e01-2130-4f78-ae8d-8253b197adea" providerId="ADAL" clId="{ED9A2370-4579-466F-8639-5A398BB16289}" dt="2024-05-23T15:15:51.272" v="34" actId="478"/>
          <ac:spMkLst>
            <pc:docMk/>
            <pc:sldMk cId="1299719781" sldId="2147482156"/>
            <ac:spMk id="2" creationId="{799A07E3-837A-C468-4205-E6A3E394E0C9}"/>
          </ac:spMkLst>
        </pc:spChg>
      </pc:sldChg>
      <pc:sldChg chg="delSp mod">
        <pc:chgData name="Lisa Boyette" userId="24cc2e01-2130-4f78-ae8d-8253b197adea" providerId="ADAL" clId="{ED9A2370-4579-466F-8639-5A398BB16289}" dt="2024-05-23T15:19:42.870" v="139" actId="478"/>
        <pc:sldMkLst>
          <pc:docMk/>
          <pc:sldMk cId="4115873981" sldId="2147482157"/>
        </pc:sldMkLst>
        <pc:spChg chg="del">
          <ac:chgData name="Lisa Boyette" userId="24cc2e01-2130-4f78-ae8d-8253b197adea" providerId="ADAL" clId="{ED9A2370-4579-466F-8639-5A398BB16289}" dt="2024-05-23T15:19:42.870" v="139" actId="478"/>
          <ac:spMkLst>
            <pc:docMk/>
            <pc:sldMk cId="4115873981" sldId="2147482157"/>
            <ac:spMk id="5" creationId="{647251AF-70D3-3D23-8D90-4308F93FCBB8}"/>
          </ac:spMkLst>
        </pc:spChg>
      </pc:sldChg>
    </pc:docChg>
  </pc:docChgLst>
  <pc:docChgLst>
    <pc:chgData name="Henry Hulter (Contractor)" userId="S::henry.hulter@gilead.com::61776daa-1f15-439c-abbe-da88991fe9d1" providerId="AD" clId="Web-{DC4078C2-3115-9EC9-4A89-50F1B0484D97}"/>
    <pc:docChg chg="sldOrd">
      <pc:chgData name="Henry Hulter (Contractor)" userId="S::henry.hulter@gilead.com::61776daa-1f15-439c-abbe-da88991fe9d1" providerId="AD" clId="Web-{DC4078C2-3115-9EC9-4A89-50F1B0484D97}" dt="2024-03-26T20:25:39.124" v="4"/>
      <pc:docMkLst>
        <pc:docMk/>
      </pc:docMkLst>
      <pc:sldChg chg="addCm">
        <pc:chgData name="Henry Hulter (Contractor)" userId="S::henry.hulter@gilead.com::61776daa-1f15-439c-abbe-da88991fe9d1" providerId="AD" clId="Web-{DC4078C2-3115-9EC9-4A89-50F1B0484D97}" dt="2024-03-26T20:25:39.124" v="4"/>
        <pc:sldMkLst>
          <pc:docMk/>
          <pc:sldMk cId="1280071501" sldId="2146847862"/>
        </pc:sldMkLst>
      </pc:sldChg>
      <pc:sldChg chg="ord">
        <pc:chgData name="Henry Hulter (Contractor)" userId="S::henry.hulter@gilead.com::61776daa-1f15-439c-abbe-da88991fe9d1" providerId="AD" clId="Web-{DC4078C2-3115-9EC9-4A89-50F1B0484D97}" dt="2024-03-26T20:16:21.776" v="2"/>
        <pc:sldMkLst>
          <pc:docMk/>
          <pc:sldMk cId="3163595313" sldId="2147479477"/>
        </pc:sldMkLst>
      </pc:sldChg>
      <pc:sldChg chg="addCm">
        <pc:chgData name="Henry Hulter (Contractor)" userId="S::henry.hulter@gilead.com::61776daa-1f15-439c-abbe-da88991fe9d1" providerId="AD" clId="Web-{DC4078C2-3115-9EC9-4A89-50F1B0484D97}" dt="2024-03-26T20:03:38.670" v="0"/>
        <pc:sldMkLst>
          <pc:docMk/>
          <pc:sldMk cId="1566014954" sldId="2147479483"/>
        </pc:sldMkLst>
      </pc:sldChg>
      <pc:sldChg chg="addCm delCm">
        <pc:chgData name="Henry Hulter (Contractor)" userId="S::henry.hulter@gilead.com::61776daa-1f15-439c-abbe-da88991fe9d1" providerId="AD" clId="Web-{DC4078C2-3115-9EC9-4A89-50F1B0484D97}" dt="2024-03-26T20:16:55.855" v="3"/>
        <pc:sldMkLst>
          <pc:docMk/>
          <pc:sldMk cId="2433446030" sldId="2147482148"/>
        </pc:sldMkLst>
      </pc:sldChg>
    </pc:docChg>
  </pc:docChgLst>
  <pc:docChgLst>
    <pc:chgData name="Celeste Hsieh" userId="3c23dc7f-1c43-4092-97b9-786e61784316" providerId="ADAL" clId="{D95611D9-EC05-41D6-AE69-2D1D2FFA2AA4}"/>
    <pc:docChg chg="undo custSel addSld delSld modSld modSection">
      <pc:chgData name="Celeste Hsieh" userId="3c23dc7f-1c43-4092-97b9-786e61784316" providerId="ADAL" clId="{D95611D9-EC05-41D6-AE69-2D1D2FFA2AA4}" dt="2024-02-05T23:26:02.132" v="21"/>
      <pc:docMkLst>
        <pc:docMk/>
      </pc:docMkLst>
      <pc:sldChg chg="modSp mod addCm">
        <pc:chgData name="Celeste Hsieh" userId="3c23dc7f-1c43-4092-97b9-786e61784316" providerId="ADAL" clId="{D95611D9-EC05-41D6-AE69-2D1D2FFA2AA4}" dt="2024-02-05T23:26:02.132" v="21"/>
        <pc:sldMkLst>
          <pc:docMk/>
          <pc:sldMk cId="249047811" sldId="257"/>
        </pc:sldMkLst>
        <pc:graphicFrameChg chg="modGraphic">
          <ac:chgData name="Celeste Hsieh" userId="3c23dc7f-1c43-4092-97b9-786e61784316" providerId="ADAL" clId="{D95611D9-EC05-41D6-AE69-2D1D2FFA2AA4}" dt="2024-02-02T21:06:12.226" v="6" actId="20577"/>
          <ac:graphicFrameMkLst>
            <pc:docMk/>
            <pc:sldMk cId="249047811" sldId="257"/>
            <ac:graphicFrameMk id="5" creationId="{F7F490B3-B450-7FC7-627F-64DA99C54319}"/>
          </ac:graphicFrameMkLst>
        </pc:graphicFrameChg>
      </pc:sldChg>
      <pc:sldChg chg="add del modCm">
        <pc:chgData name="Celeste Hsieh" userId="3c23dc7f-1c43-4092-97b9-786e61784316" providerId="ADAL" clId="{D95611D9-EC05-41D6-AE69-2D1D2FFA2AA4}" dt="2024-02-02T20:11:40.404" v="2"/>
        <pc:sldMkLst>
          <pc:docMk/>
          <pc:sldMk cId="1495852894" sldId="2146847934"/>
        </pc:sldMkLst>
      </pc:sldChg>
      <pc:sldChg chg="addCm modCm">
        <pc:chgData name="Celeste Hsieh" userId="3c23dc7f-1c43-4092-97b9-786e61784316" providerId="ADAL" clId="{D95611D9-EC05-41D6-AE69-2D1D2FFA2AA4}" dt="2024-02-02T23:25:33.528" v="11"/>
        <pc:sldMkLst>
          <pc:docMk/>
          <pc:sldMk cId="3423029267" sldId="2147479417"/>
        </pc:sldMkLst>
      </pc:sldChg>
      <pc:sldChg chg="modSp mod addCm">
        <pc:chgData name="Celeste Hsieh" userId="3c23dc7f-1c43-4092-97b9-786e61784316" providerId="ADAL" clId="{D95611D9-EC05-41D6-AE69-2D1D2FFA2AA4}" dt="2024-02-05T22:42:09.575" v="13"/>
        <pc:sldMkLst>
          <pc:docMk/>
          <pc:sldMk cId="491025675" sldId="2147479430"/>
        </pc:sldMkLst>
        <pc:graphicFrameChg chg="mod modGraphic">
          <ac:chgData name="Celeste Hsieh" userId="3c23dc7f-1c43-4092-97b9-786e61784316" providerId="ADAL" clId="{D95611D9-EC05-41D6-AE69-2D1D2FFA2AA4}" dt="2024-02-05T22:42:06.252" v="12"/>
          <ac:graphicFrameMkLst>
            <pc:docMk/>
            <pc:sldMk cId="491025675" sldId="2147479430"/>
            <ac:graphicFrameMk id="5" creationId="{850A22AB-DD42-40BA-ADB2-CD6A5E16AB0A}"/>
          </ac:graphicFrameMkLst>
        </pc:graphicFrameChg>
      </pc:sldChg>
      <pc:sldChg chg="modSp addCm delCm">
        <pc:chgData name="Celeste Hsieh" userId="3c23dc7f-1c43-4092-97b9-786e61784316" providerId="ADAL" clId="{D95611D9-EC05-41D6-AE69-2D1D2FFA2AA4}" dt="2024-02-05T22:44:01.375" v="17"/>
        <pc:sldMkLst>
          <pc:docMk/>
          <pc:sldMk cId="3658998517" sldId="2147479432"/>
        </pc:sldMkLst>
        <pc:spChg chg="mod">
          <ac:chgData name="Celeste Hsieh" userId="3c23dc7f-1c43-4092-97b9-786e61784316" providerId="ADAL" clId="{D95611D9-EC05-41D6-AE69-2D1D2FFA2AA4}" dt="2024-02-02T21:10:19.656" v="8" actId="1076"/>
          <ac:spMkLst>
            <pc:docMk/>
            <pc:sldMk cId="3658998517" sldId="2147479432"/>
            <ac:spMk id="3" creationId="{BBD1C546-D25B-393F-B4AF-2329B130F5B5}"/>
          </ac:spMkLst>
        </pc:spChg>
      </pc:sldChg>
      <pc:sldChg chg="addCm">
        <pc:chgData name="Celeste Hsieh" userId="3c23dc7f-1c43-4092-97b9-786e61784316" providerId="ADAL" clId="{D95611D9-EC05-41D6-AE69-2D1D2FFA2AA4}" dt="2024-02-05T22:45:38.427" v="19"/>
        <pc:sldMkLst>
          <pc:docMk/>
          <pc:sldMk cId="2559804866" sldId="2147479433"/>
        </pc:sldMkLst>
      </pc:sldChg>
      <pc:sldChg chg="addCm">
        <pc:chgData name="Celeste Hsieh" userId="3c23dc7f-1c43-4092-97b9-786e61784316" providerId="ADAL" clId="{D95611D9-EC05-41D6-AE69-2D1D2FFA2AA4}" dt="2024-02-02T21:15:29.176" v="9"/>
        <pc:sldMkLst>
          <pc:docMk/>
          <pc:sldMk cId="988116671" sldId="2147479435"/>
        </pc:sldMkLst>
      </pc:sldChg>
    </pc:docChg>
  </pc:docChgLst>
  <pc:docChgLst>
    <pc:chgData name="Enya Guo" userId="9fce630b-4ce2-4fa0-a6b3-516d0d382c30" providerId="ADAL" clId="{678A839D-8AE8-4A1B-BDDA-4E326B10CC7A}"/>
    <pc:docChg chg="">
      <pc:chgData name="Enya Guo" userId="9fce630b-4ce2-4fa0-a6b3-516d0d382c30" providerId="ADAL" clId="{678A839D-8AE8-4A1B-BDDA-4E326B10CC7A}" dt="2024-03-14T19:33:44.263" v="0" actId="2056"/>
      <pc:docMkLst>
        <pc:docMk/>
      </pc:docMkLst>
      <pc:sldChg chg="modCm">
        <pc:chgData name="Enya Guo" userId="9fce630b-4ce2-4fa0-a6b3-516d0d382c30" providerId="ADAL" clId="{678A839D-8AE8-4A1B-BDDA-4E326B10CC7A}" dt="2024-03-14T19:33:44.263" v="0" actId="2056"/>
        <pc:sldMkLst>
          <pc:docMk/>
          <pc:sldMk cId="2531188512" sldId="2147479476"/>
        </pc:sldMkLst>
      </pc:sldChg>
    </pc:docChg>
  </pc:docChgLst>
  <pc:docChgLst>
    <pc:chgData name="Xiaomin Lu" userId="S::xiaomin.lu@gilead.com::42419631-bd19-4e2d-8d0e-2a49042d0d37" providerId="AD" clId="Web-{F5286907-FC22-8CCF-CD09-E6F9658CAED0}"/>
    <pc:docChg chg="modSld">
      <pc:chgData name="Xiaomin Lu" userId="S::xiaomin.lu@gilead.com::42419631-bd19-4e2d-8d0e-2a49042d0d37" providerId="AD" clId="Web-{F5286907-FC22-8CCF-CD09-E6F9658CAED0}" dt="2024-02-28T19:19:44.786" v="25"/>
      <pc:docMkLst>
        <pc:docMk/>
      </pc:docMkLst>
      <pc:sldChg chg="modSp modCm">
        <pc:chgData name="Xiaomin Lu" userId="S::xiaomin.lu@gilead.com::42419631-bd19-4e2d-8d0e-2a49042d0d37" providerId="AD" clId="Web-{F5286907-FC22-8CCF-CD09-E6F9658CAED0}" dt="2024-02-28T19:19:44.786" v="25"/>
        <pc:sldMkLst>
          <pc:docMk/>
          <pc:sldMk cId="1588382006" sldId="2147479470"/>
        </pc:sldMkLst>
        <pc:graphicFrameChg chg="mod modGraphic">
          <ac:chgData name="Xiaomin Lu" userId="S::xiaomin.lu@gilead.com::42419631-bd19-4e2d-8d0e-2a49042d0d37" providerId="AD" clId="Web-{F5286907-FC22-8CCF-CD09-E6F9658CAED0}" dt="2024-02-28T19:19:44.786" v="25"/>
          <ac:graphicFrameMkLst>
            <pc:docMk/>
            <pc:sldMk cId="1588382006" sldId="2147479470"/>
            <ac:graphicFrameMk id="3" creationId="{1BB599FD-6071-5C0B-0CCF-0A8634E74972}"/>
          </ac:graphicFrameMkLst>
        </pc:graphicFrameChg>
      </pc:sldChg>
    </pc:docChg>
  </pc:docChgLst>
  <pc:docChgLst>
    <pc:chgData name="Andrew Billin" userId="bb80ba1e-8d55-497c-975f-19bdeb1b6669" providerId="ADAL" clId="{A1EB819C-7B1E-4740-B1CC-C6383B195BFD}"/>
    <pc:docChg chg="modSld">
      <pc:chgData name="Andrew Billin" userId="bb80ba1e-8d55-497c-975f-19bdeb1b6669" providerId="ADAL" clId="{A1EB819C-7B1E-4740-B1CC-C6383B195BFD}" dt="2024-03-20T21:30:46.051" v="4" actId="20577"/>
      <pc:docMkLst>
        <pc:docMk/>
      </pc:docMkLst>
      <pc:sldChg chg="addCm">
        <pc:chgData name="Andrew Billin" userId="bb80ba1e-8d55-497c-975f-19bdeb1b6669" providerId="ADAL" clId="{A1EB819C-7B1E-4740-B1CC-C6383B195BFD}" dt="2024-03-19T22:52:59.553" v="0"/>
        <pc:sldMkLst>
          <pc:docMk/>
          <pc:sldMk cId="3190076938" sldId="2147472670"/>
        </pc:sldMkLst>
      </pc:sldChg>
      <pc:sldChg chg="addCm">
        <pc:chgData name="Andrew Billin" userId="bb80ba1e-8d55-497c-975f-19bdeb1b6669" providerId="ADAL" clId="{A1EB819C-7B1E-4740-B1CC-C6383B195BFD}" dt="2024-03-20T15:58:07.092" v="1"/>
        <pc:sldMkLst>
          <pc:docMk/>
          <pc:sldMk cId="2761666500" sldId="2147479478"/>
        </pc:sldMkLst>
      </pc:sldChg>
      <pc:sldChg chg="modSp mod">
        <pc:chgData name="Andrew Billin" userId="bb80ba1e-8d55-497c-975f-19bdeb1b6669" providerId="ADAL" clId="{A1EB819C-7B1E-4740-B1CC-C6383B195BFD}" dt="2024-03-20T21:30:46.051" v="4" actId="20577"/>
        <pc:sldMkLst>
          <pc:docMk/>
          <pc:sldMk cId="3149000909" sldId="2147482143"/>
        </pc:sldMkLst>
        <pc:spChg chg="mod">
          <ac:chgData name="Andrew Billin" userId="bb80ba1e-8d55-497c-975f-19bdeb1b6669" providerId="ADAL" clId="{A1EB819C-7B1E-4740-B1CC-C6383B195BFD}" dt="2024-03-20T21:30:46.051" v="4" actId="20577"/>
          <ac:spMkLst>
            <pc:docMk/>
            <pc:sldMk cId="3149000909" sldId="2147482143"/>
            <ac:spMk id="2" creationId="{D132E6B5-E485-60D5-5F30-E987FCBD1CD8}"/>
          </ac:spMkLst>
        </pc:spChg>
      </pc:sldChg>
    </pc:docChg>
  </pc:docChgLst>
  <pc:docChgLst>
    <pc:chgData name="Elijah Weber" userId="3845fdcd-7f4a-4ae0-9bbf-dad4a5b939df" providerId="ADAL" clId="{8536E541-E731-4383-A847-270E3A122C51}"/>
    <pc:docChg chg="undo custSel modSld">
      <pc:chgData name="Elijah Weber" userId="3845fdcd-7f4a-4ae0-9bbf-dad4a5b939df" providerId="ADAL" clId="{8536E541-E731-4383-A847-270E3A122C51}" dt="2024-03-19T22:18:19.478" v="529"/>
      <pc:docMkLst>
        <pc:docMk/>
      </pc:docMkLst>
      <pc:sldChg chg="modSp mod modCm">
        <pc:chgData name="Elijah Weber" userId="3845fdcd-7f4a-4ae0-9bbf-dad4a5b939df" providerId="ADAL" clId="{8536E541-E731-4383-A847-270E3A122C51}" dt="2024-03-19T22:13:49.063" v="390"/>
        <pc:sldMkLst>
          <pc:docMk/>
          <pc:sldMk cId="11518599" sldId="2147308834"/>
        </pc:sldMkLst>
        <pc:spChg chg="mod">
          <ac:chgData name="Elijah Weber" userId="3845fdcd-7f4a-4ae0-9bbf-dad4a5b939df" providerId="ADAL" clId="{8536E541-E731-4383-A847-270E3A122C51}" dt="2024-03-19T22:13:07.471" v="389" actId="20577"/>
          <ac:spMkLst>
            <pc:docMk/>
            <pc:sldMk cId="11518599" sldId="2147308834"/>
            <ac:spMk id="3" creationId="{71B74FEB-1A2D-FF9C-BA35-C7DAD4E39E8F}"/>
          </ac:spMkLst>
        </pc:spChg>
      </pc:sldChg>
      <pc:sldChg chg="modSp mod modCm">
        <pc:chgData name="Elijah Weber" userId="3845fdcd-7f4a-4ae0-9bbf-dad4a5b939df" providerId="ADAL" clId="{8536E541-E731-4383-A847-270E3A122C51}" dt="2024-03-19T22:18:03.691" v="528" actId="6549"/>
        <pc:sldMkLst>
          <pc:docMk/>
          <pc:sldMk cId="2584841147" sldId="2147471742"/>
        </pc:sldMkLst>
        <pc:graphicFrameChg chg="modGraphic">
          <ac:chgData name="Elijah Weber" userId="3845fdcd-7f4a-4ae0-9bbf-dad4a5b939df" providerId="ADAL" clId="{8536E541-E731-4383-A847-270E3A122C51}" dt="2024-03-19T22:18:03.691" v="528" actId="6549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  <pc:sldChg chg="modSp mod addCm modCm">
        <pc:chgData name="Elijah Weber" userId="3845fdcd-7f4a-4ae0-9bbf-dad4a5b939df" providerId="ADAL" clId="{8536E541-E731-4383-A847-270E3A122C51}" dt="2024-03-19T22:09:44.370" v="359" actId="20577"/>
        <pc:sldMkLst>
          <pc:docMk/>
          <pc:sldMk cId="881740034" sldId="2147479353"/>
        </pc:sldMkLst>
        <pc:spChg chg="mod">
          <ac:chgData name="Elijah Weber" userId="3845fdcd-7f4a-4ae0-9bbf-dad4a5b939df" providerId="ADAL" clId="{8536E541-E731-4383-A847-270E3A122C51}" dt="2024-03-19T22:09:44.370" v="359" actId="20577"/>
          <ac:spMkLst>
            <pc:docMk/>
            <pc:sldMk cId="881740034" sldId="2147479353"/>
            <ac:spMk id="3" creationId="{7D836601-6754-9347-8E4F-019A9E8569EC}"/>
          </ac:spMkLst>
        </pc:spChg>
      </pc:sldChg>
      <pc:sldChg chg="modSp">
        <pc:chgData name="Elijah Weber" userId="3845fdcd-7f4a-4ae0-9bbf-dad4a5b939df" providerId="ADAL" clId="{8536E541-E731-4383-A847-270E3A122C51}" dt="2024-03-19T22:18:19.478" v="529"/>
        <pc:sldMkLst>
          <pc:docMk/>
          <pc:sldMk cId="2619622909" sldId="2147479481"/>
        </pc:sldMkLst>
        <pc:graphicFrameChg chg="mod">
          <ac:chgData name="Elijah Weber" userId="3845fdcd-7f4a-4ae0-9bbf-dad4a5b939df" providerId="ADAL" clId="{8536E541-E731-4383-A847-270E3A122C51}" dt="2024-03-19T22:18:19.478" v="529"/>
          <ac:graphicFrameMkLst>
            <pc:docMk/>
            <pc:sldMk cId="2619622909" sldId="2147479481"/>
            <ac:graphicFrameMk id="2" creationId="{3B163526-BF01-46CA-8C94-CE7564279017}"/>
          </ac:graphicFrameMkLst>
        </pc:graphicFrameChg>
      </pc:sldChg>
      <pc:sldChg chg="addCm modCm">
        <pc:chgData name="Elijah Weber" userId="3845fdcd-7f4a-4ae0-9bbf-dad4a5b939df" providerId="ADAL" clId="{8536E541-E731-4383-A847-270E3A122C51}" dt="2024-03-19T22:15:37.349" v="392"/>
        <pc:sldMkLst>
          <pc:docMk/>
          <pc:sldMk cId="3450164358" sldId="2147482128"/>
        </pc:sldMkLst>
      </pc:sldChg>
    </pc:docChg>
  </pc:docChgLst>
  <pc:docChgLst>
    <pc:chgData name="Caroline Burk (Contractor)" userId="S::caroline.burk@gilead.com::20006c89-9c40-4017-8d9b-277f0f6c6e98" providerId="AD" clId="Web-{EC5173F9-43DB-B4DC-5BE7-88A798838276}"/>
    <pc:docChg chg="modSld">
      <pc:chgData name="Caroline Burk (Contractor)" userId="S::caroline.burk@gilead.com::20006c89-9c40-4017-8d9b-277f0f6c6e98" providerId="AD" clId="Web-{EC5173F9-43DB-B4DC-5BE7-88A798838276}" dt="2024-05-16T17:08:49.377" v="5"/>
      <pc:docMkLst>
        <pc:docMk/>
      </pc:docMkLst>
      <pc:sldChg chg="modSp">
        <pc:chgData name="Caroline Burk (Contractor)" userId="S::caroline.burk@gilead.com::20006c89-9c40-4017-8d9b-277f0f6c6e98" providerId="AD" clId="Web-{EC5173F9-43DB-B4DC-5BE7-88A798838276}" dt="2024-05-16T17:08:49.377" v="5"/>
        <pc:sldMkLst>
          <pc:docMk/>
          <pc:sldMk cId="1566014954" sldId="2147479483"/>
        </pc:sldMkLst>
        <pc:graphicFrameChg chg="mod modGraphic">
          <ac:chgData name="Caroline Burk (Contractor)" userId="S::caroline.burk@gilead.com::20006c89-9c40-4017-8d9b-277f0f6c6e98" providerId="AD" clId="Web-{EC5173F9-43DB-B4DC-5BE7-88A798838276}" dt="2024-05-16T17:08:49.377" v="5"/>
          <ac:graphicFrameMkLst>
            <pc:docMk/>
            <pc:sldMk cId="1566014954" sldId="2147479483"/>
            <ac:graphicFrameMk id="5" creationId="{EDEC6C2B-3D73-4F40-B6D6-979585E393D9}"/>
          </ac:graphicFrameMkLst>
        </pc:graphicFrameChg>
      </pc:sldChg>
    </pc:docChg>
  </pc:docChgLst>
  <pc:docChgLst>
    <pc:chgData name="Julie Peloquin" userId="S::julie.peloquin@gilead.com::5c74c883-0e1a-441f-9270-90f97de9a2e7" providerId="AD" clId="Web-{37433658-FA21-82F3-DAD2-02B0A0BF8B35}"/>
    <pc:docChg chg="modSld">
      <pc:chgData name="Julie Peloquin" userId="S::julie.peloquin@gilead.com::5c74c883-0e1a-441f-9270-90f97de9a2e7" providerId="AD" clId="Web-{37433658-FA21-82F3-DAD2-02B0A0BF8B35}" dt="2024-01-31T16:54:45.700" v="16" actId="20577"/>
      <pc:docMkLst>
        <pc:docMk/>
      </pc:docMkLst>
      <pc:sldChg chg="modSp modCm">
        <pc:chgData name="Julie Peloquin" userId="S::julie.peloquin@gilead.com::5c74c883-0e1a-441f-9270-90f97de9a2e7" providerId="AD" clId="Web-{37433658-FA21-82F3-DAD2-02B0A0BF8B35}" dt="2024-01-31T16:54:45.700" v="16" actId="20577"/>
        <pc:sldMkLst>
          <pc:docMk/>
          <pc:sldMk cId="3423029267" sldId="2147479417"/>
        </pc:sldMkLst>
        <pc:spChg chg="mod">
          <ac:chgData name="Julie Peloquin" userId="S::julie.peloquin@gilead.com::5c74c883-0e1a-441f-9270-90f97de9a2e7" providerId="AD" clId="Web-{37433658-FA21-82F3-DAD2-02B0A0BF8B35}" dt="2024-01-31T16:54:45.700" v="16" actId="20577"/>
          <ac:spMkLst>
            <pc:docMk/>
            <pc:sldMk cId="3423029267" sldId="2147479417"/>
            <ac:spMk id="235" creationId="{D4844434-272D-9E7F-C8A0-4469765196A0}"/>
          </ac:spMkLst>
        </pc:spChg>
      </pc:sldChg>
      <pc:sldChg chg="modSp">
        <pc:chgData name="Julie Peloquin" userId="S::julie.peloquin@gilead.com::5c74c883-0e1a-441f-9270-90f97de9a2e7" providerId="AD" clId="Web-{37433658-FA21-82F3-DAD2-02B0A0BF8B35}" dt="2024-01-31T16:54:27.153" v="7" actId="20577"/>
        <pc:sldMkLst>
          <pc:docMk/>
          <pc:sldMk cId="2559804866" sldId="2147479433"/>
        </pc:sldMkLst>
        <pc:spChg chg="mod">
          <ac:chgData name="Julie Peloquin" userId="S::julie.peloquin@gilead.com::5c74c883-0e1a-441f-9270-90f97de9a2e7" providerId="AD" clId="Web-{37433658-FA21-82F3-DAD2-02B0A0BF8B35}" dt="2024-01-31T16:54:27.153" v="7" actId="20577"/>
          <ac:spMkLst>
            <pc:docMk/>
            <pc:sldMk cId="2559804866" sldId="2147479433"/>
            <ac:spMk id="2" creationId="{5B678740-5808-F72A-18FE-9759229C0A53}"/>
          </ac:spMkLst>
        </pc:spChg>
      </pc:sldChg>
    </pc:docChg>
  </pc:docChgLst>
  <pc:docChgLst>
    <pc:chgData name="Rick McGirt" userId="S::rick.mcgirt@gilead.com::084dd1c1-4729-48d2-b350-e5921353a72c" providerId="AD" clId="Web-{A16355A5-63B5-226C-862A-A72F9485F5EA}"/>
    <pc:docChg chg="modSld">
      <pc:chgData name="Rick McGirt" userId="S::rick.mcgirt@gilead.com::084dd1c1-4729-48d2-b350-e5921353a72c" providerId="AD" clId="Web-{A16355A5-63B5-226C-862A-A72F9485F5EA}" dt="2024-03-11T02:51:29.356" v="281"/>
      <pc:docMkLst>
        <pc:docMk/>
      </pc:docMkLst>
      <pc:sldChg chg="addSp delSp modSp">
        <pc:chgData name="Rick McGirt" userId="S::rick.mcgirt@gilead.com::084dd1c1-4729-48d2-b350-e5921353a72c" providerId="AD" clId="Web-{A16355A5-63B5-226C-862A-A72F9485F5EA}" dt="2024-03-11T02:51:29.356" v="281"/>
        <pc:sldMkLst>
          <pc:docMk/>
          <pc:sldMk cId="2137990208" sldId="2147479455"/>
        </pc:sldMkLst>
        <pc:spChg chg="add del mod">
          <ac:chgData name="Rick McGirt" userId="S::rick.mcgirt@gilead.com::084dd1c1-4729-48d2-b350-e5921353a72c" providerId="AD" clId="Web-{A16355A5-63B5-226C-862A-A72F9485F5EA}" dt="2024-03-11T02:51:29.356" v="281"/>
          <ac:spMkLst>
            <pc:docMk/>
            <pc:sldMk cId="2137990208" sldId="2147479455"/>
            <ac:spMk id="5" creationId="{D6B80F10-E48C-DB39-A5DA-A57E928F33C6}"/>
          </ac:spMkLst>
        </pc:spChg>
        <pc:graphicFrameChg chg="mod modGraphic">
          <ac:chgData name="Rick McGirt" userId="S::rick.mcgirt@gilead.com::084dd1c1-4729-48d2-b350-e5921353a72c" providerId="AD" clId="Web-{A16355A5-63B5-226C-862A-A72F9485F5EA}" dt="2024-03-11T02:48:52.085" v="277"/>
          <ac:graphicFrameMkLst>
            <pc:docMk/>
            <pc:sldMk cId="2137990208" sldId="2147479455"/>
            <ac:graphicFrameMk id="4" creationId="{BE38E089-BBF7-5339-EF73-F68B7686C21D}"/>
          </ac:graphicFrameMkLst>
        </pc:graphicFrameChg>
      </pc:sldChg>
    </pc:docChg>
  </pc:docChgLst>
  <pc:docChgLst>
    <pc:chgData name="Jason Melehani" userId="93603e9a-d746-4d7c-89da-7c5ef8b091f7" providerId="ADAL" clId="{6EF6D995-6D9D-43EC-96BA-A1B0C5B78E64}"/>
    <pc:docChg chg="">
      <pc:chgData name="Jason Melehani" userId="93603e9a-d746-4d7c-89da-7c5ef8b091f7" providerId="ADAL" clId="{6EF6D995-6D9D-43EC-96BA-A1B0C5B78E64}" dt="2024-05-15T18:41:47.609" v="0"/>
      <pc:docMkLst>
        <pc:docMk/>
      </pc:docMkLst>
      <pc:sldChg chg="modCm">
        <pc:chgData name="Jason Melehani" userId="93603e9a-d746-4d7c-89da-7c5ef8b091f7" providerId="ADAL" clId="{6EF6D995-6D9D-43EC-96BA-A1B0C5B78E64}" dt="2024-05-15T18:41:47.609" v="0"/>
        <pc:sldMkLst>
          <pc:docMk/>
          <pc:sldMk cId="1299719781" sldId="214748215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son Melehani" userId="93603e9a-d746-4d7c-89da-7c5ef8b091f7" providerId="ADAL" clId="{6EF6D995-6D9D-43EC-96BA-A1B0C5B78E64}" dt="2024-05-15T18:41:47.609" v="0"/>
              <pc2:cmMkLst xmlns:pc2="http://schemas.microsoft.com/office/powerpoint/2019/9/main/command">
                <pc:docMk/>
                <pc:sldMk cId="1299719781" sldId="2147482156"/>
                <pc2:cmMk id="{8156AA9C-47B8-4F77-BBA6-1C855EE557B7}"/>
              </pc2:cmMkLst>
              <pc226:cmRplyChg chg="add">
                <pc226:chgData name="Jason Melehani" userId="93603e9a-d746-4d7c-89da-7c5ef8b091f7" providerId="ADAL" clId="{6EF6D995-6D9D-43EC-96BA-A1B0C5B78E64}" dt="2024-05-15T18:41:47.609" v="0"/>
                <pc2:cmRplyMkLst xmlns:pc2="http://schemas.microsoft.com/office/powerpoint/2019/9/main/command">
                  <pc:docMk/>
                  <pc:sldMk cId="1299719781" sldId="2147482156"/>
                  <pc2:cmMk id="{8156AA9C-47B8-4F77-BBA6-1C855EE557B7}"/>
                  <pc2:cmRplyMk id="{1956BAA1-A6DA-4F26-A00E-D47DAB55C747}"/>
                </pc2:cmRplyMkLst>
              </pc226:cmRplyChg>
            </pc226:cmChg>
          </p:ext>
        </pc:extLst>
      </pc:sldChg>
    </pc:docChg>
  </pc:docChgLst>
  <pc:docChgLst>
    <pc:chgData name="Lisa Boyette" userId="24cc2e01-2130-4f78-ae8d-8253b197adea" providerId="ADAL" clId="{04D6EC11-0CE4-48F0-B750-BC7D95EBD056}"/>
    <pc:docChg chg="undo custSel addSld delSld modSld sldOrd addMainMaster delMainMaster modMainMaster modSection">
      <pc:chgData name="Lisa Boyette" userId="24cc2e01-2130-4f78-ae8d-8253b197adea" providerId="ADAL" clId="{04D6EC11-0CE4-48F0-B750-BC7D95EBD056}" dt="2024-03-26T16:20:44.232" v="10343" actId="2056"/>
      <pc:docMkLst>
        <pc:docMk/>
      </pc:docMkLst>
      <pc:sldChg chg="del">
        <pc:chgData name="Lisa Boyette" userId="24cc2e01-2130-4f78-ae8d-8253b197adea" providerId="ADAL" clId="{04D6EC11-0CE4-48F0-B750-BC7D95EBD056}" dt="2024-03-18T17:55:07.688" v="513" actId="47"/>
        <pc:sldMkLst>
          <pc:docMk/>
          <pc:sldMk cId="215832937" sldId="257"/>
        </pc:sldMkLst>
      </pc:sldChg>
      <pc:sldChg chg="modSp mod">
        <pc:chgData name="Lisa Boyette" userId="24cc2e01-2130-4f78-ae8d-8253b197adea" providerId="ADAL" clId="{04D6EC11-0CE4-48F0-B750-BC7D95EBD056}" dt="2024-03-19T02:07:49.777" v="4370" actId="113"/>
        <pc:sldMkLst>
          <pc:docMk/>
          <pc:sldMk cId="3841480617" sldId="2141411687"/>
        </pc:sldMkLst>
        <pc:spChg chg="mod">
          <ac:chgData name="Lisa Boyette" userId="24cc2e01-2130-4f78-ae8d-8253b197adea" providerId="ADAL" clId="{04D6EC11-0CE4-48F0-B750-BC7D95EBD056}" dt="2024-03-19T02:07:49.777" v="4370" actId="113"/>
          <ac:spMkLst>
            <pc:docMk/>
            <pc:sldMk cId="3841480617" sldId="2141411687"/>
            <ac:spMk id="2" creationId="{00000000-0000-0000-0000-000000000000}"/>
          </ac:spMkLst>
        </pc:spChg>
      </pc:sldChg>
      <pc:sldChg chg="add del">
        <pc:chgData name="Lisa Boyette" userId="24cc2e01-2130-4f78-ae8d-8253b197adea" providerId="ADAL" clId="{04D6EC11-0CE4-48F0-B750-BC7D95EBD056}" dt="2024-03-19T02:20:52.060" v="4548" actId="2696"/>
        <pc:sldMkLst>
          <pc:docMk/>
          <pc:sldMk cId="319071815" sldId="2146847517"/>
        </pc:sldMkLst>
      </pc:sldChg>
      <pc:sldChg chg="addSp modSp add mod ord">
        <pc:chgData name="Lisa Boyette" userId="24cc2e01-2130-4f78-ae8d-8253b197adea" providerId="ADAL" clId="{04D6EC11-0CE4-48F0-B750-BC7D95EBD056}" dt="2024-03-20T20:23:29.323" v="9108" actId="1036"/>
        <pc:sldMkLst>
          <pc:docMk/>
          <pc:sldMk cId="1086338696" sldId="2146847517"/>
        </pc:sldMkLst>
        <pc:spChg chg="add mod">
          <ac:chgData name="Lisa Boyette" userId="24cc2e01-2130-4f78-ae8d-8253b197adea" providerId="ADAL" clId="{04D6EC11-0CE4-48F0-B750-BC7D95EBD056}" dt="2024-03-20T19:15:03.589" v="9072" actId="1076"/>
          <ac:spMkLst>
            <pc:docMk/>
            <pc:sldMk cId="1086338696" sldId="2146847517"/>
            <ac:spMk id="4" creationId="{1DDEF487-2860-998C-CF23-02CE20D27640}"/>
          </ac:spMkLst>
        </pc:spChg>
        <pc:graphicFrameChg chg="mod">
          <ac:chgData name="Lisa Boyette" userId="24cc2e01-2130-4f78-ae8d-8253b197adea" providerId="ADAL" clId="{04D6EC11-0CE4-48F0-B750-BC7D95EBD056}" dt="2024-03-20T20:23:29.323" v="9108" actId="1036"/>
          <ac:graphicFrameMkLst>
            <pc:docMk/>
            <pc:sldMk cId="1086338696" sldId="2146847517"/>
            <ac:graphicFrameMk id="8" creationId="{CA557B88-FEFB-4458-BF09-8B979BE885DF}"/>
          </ac:graphicFrameMkLst>
        </pc:graphicFrameChg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4238199105" sldId="2146847517"/>
        </pc:sldMkLst>
      </pc:sldChg>
      <pc:sldChg chg="add">
        <pc:chgData name="Lisa Boyette" userId="24cc2e01-2130-4f78-ae8d-8253b197adea" providerId="ADAL" clId="{04D6EC11-0CE4-48F0-B750-BC7D95EBD056}" dt="2024-03-19T01:19:43.081" v="3431"/>
        <pc:sldMkLst>
          <pc:docMk/>
          <pc:sldMk cId="1244960780" sldId="2146847867"/>
        </pc:sldMkLst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2630835653" sldId="2146847867"/>
        </pc:sldMkLst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1406184763" sldId="2146847877"/>
        </pc:sldMkLst>
      </pc:sldChg>
      <pc:sldChg chg="add">
        <pc:chgData name="Lisa Boyette" userId="24cc2e01-2130-4f78-ae8d-8253b197adea" providerId="ADAL" clId="{04D6EC11-0CE4-48F0-B750-BC7D95EBD056}" dt="2024-03-19T01:19:43.081" v="3431"/>
        <pc:sldMkLst>
          <pc:docMk/>
          <pc:sldMk cId="2005136460" sldId="2146847877"/>
        </pc:sldMkLst>
      </pc:sldChg>
      <pc:sldChg chg="add">
        <pc:chgData name="Lisa Boyette" userId="24cc2e01-2130-4f78-ae8d-8253b197adea" providerId="ADAL" clId="{04D6EC11-0CE4-48F0-B750-BC7D95EBD056}" dt="2024-03-19T01:19:43.081" v="3431"/>
        <pc:sldMkLst>
          <pc:docMk/>
          <pc:sldMk cId="849363178" sldId="2146847931"/>
        </pc:sldMkLst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4263678854" sldId="2146847931"/>
        </pc:sldMkLst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881763698" sldId="2146847936"/>
        </pc:sldMkLst>
      </pc:sldChg>
      <pc:sldChg chg="addSp delSp modSp add del mod">
        <pc:chgData name="Lisa Boyette" userId="24cc2e01-2130-4f78-ae8d-8253b197adea" providerId="ADAL" clId="{04D6EC11-0CE4-48F0-B750-BC7D95EBD056}" dt="2024-03-19T02:20:52.060" v="4548" actId="2696"/>
        <pc:sldMkLst>
          <pc:docMk/>
          <pc:sldMk cId="1014123647" sldId="2146847936"/>
        </pc:sldMkLst>
        <pc:spChg chg="mod">
          <ac:chgData name="Lisa Boyette" userId="24cc2e01-2130-4f78-ae8d-8253b197adea" providerId="ADAL" clId="{04D6EC11-0CE4-48F0-B750-BC7D95EBD056}" dt="2024-03-18T16:43:25.446" v="164" actId="1076"/>
          <ac:spMkLst>
            <pc:docMk/>
            <pc:sldMk cId="1014123647" sldId="2146847936"/>
            <ac:spMk id="2" creationId="{00000000-0000-0000-0000-000000000000}"/>
          </ac:spMkLst>
        </pc:spChg>
        <pc:spChg chg="mod">
          <ac:chgData name="Lisa Boyette" userId="24cc2e01-2130-4f78-ae8d-8253b197adea" providerId="ADAL" clId="{04D6EC11-0CE4-48F0-B750-BC7D95EBD056}" dt="2024-03-18T16:41:27.318" v="85" actId="20577"/>
          <ac:spMkLst>
            <pc:docMk/>
            <pc:sldMk cId="1014123647" sldId="2146847936"/>
            <ac:spMk id="3" creationId="{D20E6889-5525-FB5E-F11D-BDA544A99602}"/>
          </ac:spMkLst>
        </pc:spChg>
        <pc:spChg chg="add del mod">
          <ac:chgData name="Lisa Boyette" userId="24cc2e01-2130-4f78-ae8d-8253b197adea" providerId="ADAL" clId="{04D6EC11-0CE4-48F0-B750-BC7D95EBD056}" dt="2024-03-18T16:41:10.256" v="72" actId="478"/>
          <ac:spMkLst>
            <pc:docMk/>
            <pc:sldMk cId="1014123647" sldId="2146847936"/>
            <ac:spMk id="5" creationId="{522D8615-4533-E87A-6AC9-C99B0FCF4AD3}"/>
          </ac:spMkLst>
        </pc:spChg>
        <pc:spChg chg="add del mod">
          <ac:chgData name="Lisa Boyette" userId="24cc2e01-2130-4f78-ae8d-8253b197adea" providerId="ADAL" clId="{04D6EC11-0CE4-48F0-B750-BC7D95EBD056}" dt="2024-03-18T16:41:06.958" v="71" actId="478"/>
          <ac:spMkLst>
            <pc:docMk/>
            <pc:sldMk cId="1014123647" sldId="2146847936"/>
            <ac:spMk id="6" creationId="{F5EBDD87-344F-77E5-2FA3-6B7E961E972D}"/>
          </ac:spMkLst>
        </pc:spChg>
        <pc:spChg chg="mod">
          <ac:chgData name="Lisa Boyette" userId="24cc2e01-2130-4f78-ae8d-8253b197adea" providerId="ADAL" clId="{04D6EC11-0CE4-48F0-B750-BC7D95EBD056}" dt="2024-03-18T16:40:54.428" v="68" actId="255"/>
          <ac:spMkLst>
            <pc:docMk/>
            <pc:sldMk cId="1014123647" sldId="2146847936"/>
            <ac:spMk id="8" creationId="{215EFAE9-741E-AD73-DDBF-3BCFEE92213D}"/>
          </ac:spMkLst>
        </pc:spChg>
        <pc:spChg chg="add mod">
          <ac:chgData name="Lisa Boyette" userId="24cc2e01-2130-4f78-ae8d-8253b197adea" providerId="ADAL" clId="{04D6EC11-0CE4-48F0-B750-BC7D95EBD056}" dt="2024-03-18T16:43:39.744" v="169" actId="1076"/>
          <ac:spMkLst>
            <pc:docMk/>
            <pc:sldMk cId="1014123647" sldId="2146847936"/>
            <ac:spMk id="9" creationId="{9FB8C2FD-6BA7-D337-7E44-4E1FCA2D8675}"/>
          </ac:spMkLst>
        </pc:spChg>
        <pc:spChg chg="add mod">
          <ac:chgData name="Lisa Boyette" userId="24cc2e01-2130-4f78-ae8d-8253b197adea" providerId="ADAL" clId="{04D6EC11-0CE4-48F0-B750-BC7D95EBD056}" dt="2024-03-18T16:43:35.568" v="167" actId="1076"/>
          <ac:spMkLst>
            <pc:docMk/>
            <pc:sldMk cId="1014123647" sldId="2146847936"/>
            <ac:spMk id="10" creationId="{3663B5FA-7A5B-6D64-F21C-38E2EA201F5C}"/>
          </ac:spMkLst>
        </pc:spChg>
        <pc:spChg chg="mod">
          <ac:chgData name="Lisa Boyette" userId="24cc2e01-2130-4f78-ae8d-8253b197adea" providerId="ADAL" clId="{04D6EC11-0CE4-48F0-B750-BC7D95EBD056}" dt="2024-03-18T16:42:23.023" v="153"/>
          <ac:spMkLst>
            <pc:docMk/>
            <pc:sldMk cId="1014123647" sldId="2146847936"/>
            <ac:spMk id="13" creationId="{E855317F-2AF0-1337-6A2C-6B6425D10BF3}"/>
          </ac:spMkLst>
        </pc:spChg>
        <pc:spChg chg="mod">
          <ac:chgData name="Lisa Boyette" userId="24cc2e01-2130-4f78-ae8d-8253b197adea" providerId="ADAL" clId="{04D6EC11-0CE4-48F0-B750-BC7D95EBD056}" dt="2024-03-18T16:42:23.023" v="153"/>
          <ac:spMkLst>
            <pc:docMk/>
            <pc:sldMk cId="1014123647" sldId="2146847936"/>
            <ac:spMk id="14" creationId="{39877F0A-6624-597F-6BDF-24DDE32E7550}"/>
          </ac:spMkLst>
        </pc:spChg>
        <pc:spChg chg="mod">
          <ac:chgData name="Lisa Boyette" userId="24cc2e01-2130-4f78-ae8d-8253b197adea" providerId="ADAL" clId="{04D6EC11-0CE4-48F0-B750-BC7D95EBD056}" dt="2024-03-18T16:40:54.428" v="68" actId="255"/>
          <ac:spMkLst>
            <pc:docMk/>
            <pc:sldMk cId="1014123647" sldId="2146847936"/>
            <ac:spMk id="15" creationId="{BE9E5B74-A5AA-3D5B-6927-8F0B6CF50959}"/>
          </ac:spMkLst>
        </pc:spChg>
        <pc:spChg chg="mod">
          <ac:chgData name="Lisa Boyette" userId="24cc2e01-2130-4f78-ae8d-8253b197adea" providerId="ADAL" clId="{04D6EC11-0CE4-48F0-B750-BC7D95EBD056}" dt="2024-03-18T16:42:23.023" v="153"/>
          <ac:spMkLst>
            <pc:docMk/>
            <pc:sldMk cId="1014123647" sldId="2146847936"/>
            <ac:spMk id="16" creationId="{41D9AE03-BAC7-C05A-A5F3-C9942230DC2E}"/>
          </ac:spMkLst>
        </pc:spChg>
        <pc:spChg chg="mod">
          <ac:chgData name="Lisa Boyette" userId="24cc2e01-2130-4f78-ae8d-8253b197adea" providerId="ADAL" clId="{04D6EC11-0CE4-48F0-B750-BC7D95EBD056}" dt="2024-03-18T16:42:23.023" v="153"/>
          <ac:spMkLst>
            <pc:docMk/>
            <pc:sldMk cId="1014123647" sldId="2146847936"/>
            <ac:spMk id="18" creationId="{F59E8C0E-1D65-D346-819E-FD4C81B46C69}"/>
          </ac:spMkLst>
        </pc:spChg>
        <pc:spChg chg="mod">
          <ac:chgData name="Lisa Boyette" userId="24cc2e01-2130-4f78-ae8d-8253b197adea" providerId="ADAL" clId="{04D6EC11-0CE4-48F0-B750-BC7D95EBD056}" dt="2024-03-18T16:42:23.023" v="153"/>
          <ac:spMkLst>
            <pc:docMk/>
            <pc:sldMk cId="1014123647" sldId="2146847936"/>
            <ac:spMk id="23" creationId="{625EC302-C5A6-8CBC-600C-F91EEB18489A}"/>
          </ac:spMkLst>
        </pc:spChg>
        <pc:spChg chg="mod">
          <ac:chgData name="Lisa Boyette" userId="24cc2e01-2130-4f78-ae8d-8253b197adea" providerId="ADAL" clId="{04D6EC11-0CE4-48F0-B750-BC7D95EBD056}" dt="2024-03-18T16:42:23.023" v="153"/>
          <ac:spMkLst>
            <pc:docMk/>
            <pc:sldMk cId="1014123647" sldId="2146847936"/>
            <ac:spMk id="24" creationId="{943B8B6B-01E4-2531-AA61-EC1258C6A831}"/>
          </ac:spMkLst>
        </pc:spChg>
        <pc:spChg chg="mod">
          <ac:chgData name="Lisa Boyette" userId="24cc2e01-2130-4f78-ae8d-8253b197adea" providerId="ADAL" clId="{04D6EC11-0CE4-48F0-B750-BC7D95EBD056}" dt="2024-03-18T16:42:23.023" v="153"/>
          <ac:spMkLst>
            <pc:docMk/>
            <pc:sldMk cId="1014123647" sldId="2146847936"/>
            <ac:spMk id="26" creationId="{95DBEFA9-C909-7FC1-E64A-58208C0FFFE8}"/>
          </ac:spMkLst>
        </pc:spChg>
        <pc:spChg chg="mod">
          <ac:chgData name="Lisa Boyette" userId="24cc2e01-2130-4f78-ae8d-8253b197adea" providerId="ADAL" clId="{04D6EC11-0CE4-48F0-B750-BC7D95EBD056}" dt="2024-03-18T16:42:38.115" v="157"/>
          <ac:spMkLst>
            <pc:docMk/>
            <pc:sldMk cId="1014123647" sldId="2146847936"/>
            <ac:spMk id="28" creationId="{69956D4D-C678-2429-0FD2-4E25EBA26E23}"/>
          </ac:spMkLst>
        </pc:spChg>
        <pc:spChg chg="mod">
          <ac:chgData name="Lisa Boyette" userId="24cc2e01-2130-4f78-ae8d-8253b197adea" providerId="ADAL" clId="{04D6EC11-0CE4-48F0-B750-BC7D95EBD056}" dt="2024-03-18T16:42:38.115" v="157"/>
          <ac:spMkLst>
            <pc:docMk/>
            <pc:sldMk cId="1014123647" sldId="2146847936"/>
            <ac:spMk id="29" creationId="{79F4E3FC-295E-47DB-10D8-134BB3431F03}"/>
          </ac:spMkLst>
        </pc:spChg>
        <pc:spChg chg="mod">
          <ac:chgData name="Lisa Boyette" userId="24cc2e01-2130-4f78-ae8d-8253b197adea" providerId="ADAL" clId="{04D6EC11-0CE4-48F0-B750-BC7D95EBD056}" dt="2024-03-18T16:42:38.115" v="157"/>
          <ac:spMkLst>
            <pc:docMk/>
            <pc:sldMk cId="1014123647" sldId="2146847936"/>
            <ac:spMk id="30" creationId="{A2ABFC14-5EB9-AD3D-B6A0-ECD7168E35CB}"/>
          </ac:spMkLst>
        </pc:spChg>
        <pc:spChg chg="mod">
          <ac:chgData name="Lisa Boyette" userId="24cc2e01-2130-4f78-ae8d-8253b197adea" providerId="ADAL" clId="{04D6EC11-0CE4-48F0-B750-BC7D95EBD056}" dt="2024-03-18T16:41:21.773" v="84" actId="20577"/>
          <ac:spMkLst>
            <pc:docMk/>
            <pc:sldMk cId="1014123647" sldId="2146847936"/>
            <ac:spMk id="8208" creationId="{764D7F75-9C75-FC57-DD33-B28A13F240EC}"/>
          </ac:spMkLst>
        </pc:spChg>
        <pc:spChg chg="mod">
          <ac:chgData name="Lisa Boyette" userId="24cc2e01-2130-4f78-ae8d-8253b197adea" providerId="ADAL" clId="{04D6EC11-0CE4-48F0-B750-BC7D95EBD056}" dt="2024-03-18T16:40:54.428" v="68" actId="255"/>
          <ac:spMkLst>
            <pc:docMk/>
            <pc:sldMk cId="1014123647" sldId="2146847936"/>
            <ac:spMk id="8248" creationId="{5EBC041D-8BEC-B75E-4BFE-969923C3EB56}"/>
          </ac:spMkLst>
        </pc:spChg>
        <pc:spChg chg="mod">
          <ac:chgData name="Lisa Boyette" userId="24cc2e01-2130-4f78-ae8d-8253b197adea" providerId="ADAL" clId="{04D6EC11-0CE4-48F0-B750-BC7D95EBD056}" dt="2024-03-18T16:42:38.115" v="157"/>
          <ac:spMkLst>
            <pc:docMk/>
            <pc:sldMk cId="1014123647" sldId="2146847936"/>
            <ac:spMk id="8288" creationId="{3636D768-F566-D5E8-6846-46F0BE128AB0}"/>
          </ac:spMkLst>
        </pc:spChg>
        <pc:spChg chg="mod">
          <ac:chgData name="Lisa Boyette" userId="24cc2e01-2130-4f78-ae8d-8253b197adea" providerId="ADAL" clId="{04D6EC11-0CE4-48F0-B750-BC7D95EBD056}" dt="2024-03-18T16:40:54.428" v="68" actId="255"/>
          <ac:spMkLst>
            <pc:docMk/>
            <pc:sldMk cId="1014123647" sldId="2146847936"/>
            <ac:spMk id="8293" creationId="{06B48CA9-F79D-A217-5CF4-05F9F0B9B4CB}"/>
          </ac:spMkLst>
        </pc:spChg>
        <pc:spChg chg="mod">
          <ac:chgData name="Lisa Boyette" userId="24cc2e01-2130-4f78-ae8d-8253b197adea" providerId="ADAL" clId="{04D6EC11-0CE4-48F0-B750-BC7D95EBD056}" dt="2024-03-18T16:42:38.115" v="157"/>
          <ac:spMkLst>
            <pc:docMk/>
            <pc:sldMk cId="1014123647" sldId="2146847936"/>
            <ac:spMk id="8295" creationId="{16569185-80D0-B8E0-528A-923A43FCA774}"/>
          </ac:spMkLst>
        </pc:spChg>
        <pc:spChg chg="mod">
          <ac:chgData name="Lisa Boyette" userId="24cc2e01-2130-4f78-ae8d-8253b197adea" providerId="ADAL" clId="{04D6EC11-0CE4-48F0-B750-BC7D95EBD056}" dt="2024-03-18T16:40:54.428" v="68" actId="255"/>
          <ac:spMkLst>
            <pc:docMk/>
            <pc:sldMk cId="1014123647" sldId="2146847936"/>
            <ac:spMk id="8296" creationId="{3899AAC9-8691-85BE-1B2D-0F1BC69631C2}"/>
          </ac:spMkLst>
        </pc:spChg>
        <pc:spChg chg="mod">
          <ac:chgData name="Lisa Boyette" userId="24cc2e01-2130-4f78-ae8d-8253b197adea" providerId="ADAL" clId="{04D6EC11-0CE4-48F0-B750-BC7D95EBD056}" dt="2024-03-18T16:42:38.115" v="157"/>
          <ac:spMkLst>
            <pc:docMk/>
            <pc:sldMk cId="1014123647" sldId="2146847936"/>
            <ac:spMk id="8297" creationId="{281989D8-EB80-45FA-8F9D-EE1F5BC5FACB}"/>
          </ac:spMkLst>
        </pc:spChg>
        <pc:spChg chg="mod">
          <ac:chgData name="Lisa Boyette" userId="24cc2e01-2130-4f78-ae8d-8253b197adea" providerId="ADAL" clId="{04D6EC11-0CE4-48F0-B750-BC7D95EBD056}" dt="2024-03-18T16:42:38.115" v="157"/>
          <ac:spMkLst>
            <pc:docMk/>
            <pc:sldMk cId="1014123647" sldId="2146847936"/>
            <ac:spMk id="8299" creationId="{49C93348-873C-40D7-9738-3113DBAA1FD3}"/>
          </ac:spMkLst>
        </pc:spChg>
        <pc:spChg chg="add del mod">
          <ac:chgData name="Lisa Boyette" userId="24cc2e01-2130-4f78-ae8d-8253b197adea" providerId="ADAL" clId="{04D6EC11-0CE4-48F0-B750-BC7D95EBD056}" dt="2024-03-18T16:44:24.466" v="198" actId="478"/>
          <ac:spMkLst>
            <pc:docMk/>
            <pc:sldMk cId="1014123647" sldId="2146847936"/>
            <ac:spMk id="8302" creationId="{FF44797E-8ACF-F880-4E90-20E4C50E2667}"/>
          </ac:spMkLst>
        </pc:spChg>
        <pc:spChg chg="add mod">
          <ac:chgData name="Lisa Boyette" userId="24cc2e01-2130-4f78-ae8d-8253b197adea" providerId="ADAL" clId="{04D6EC11-0CE4-48F0-B750-BC7D95EBD056}" dt="2024-03-18T16:44:57.166" v="202" actId="208"/>
          <ac:spMkLst>
            <pc:docMk/>
            <pc:sldMk cId="1014123647" sldId="2146847936"/>
            <ac:spMk id="8303" creationId="{FBCA695B-55D7-2880-8D03-A4216282B8B9}"/>
          </ac:spMkLst>
        </pc:spChg>
        <pc:spChg chg="add mod">
          <ac:chgData name="Lisa Boyette" userId="24cc2e01-2130-4f78-ae8d-8253b197adea" providerId="ADAL" clId="{04D6EC11-0CE4-48F0-B750-BC7D95EBD056}" dt="2024-03-18T16:45:15.056" v="205" actId="208"/>
          <ac:spMkLst>
            <pc:docMk/>
            <pc:sldMk cId="1014123647" sldId="2146847936"/>
            <ac:spMk id="8304" creationId="{E8B7FA6A-12B3-5A2F-24DB-5FDB7408B4FD}"/>
          </ac:spMkLst>
        </pc:spChg>
        <pc:grpChg chg="add del mod">
          <ac:chgData name="Lisa Boyette" userId="24cc2e01-2130-4f78-ae8d-8253b197adea" providerId="ADAL" clId="{04D6EC11-0CE4-48F0-B750-BC7D95EBD056}" dt="2024-03-18T16:42:35.666" v="156" actId="478"/>
          <ac:grpSpMkLst>
            <pc:docMk/>
            <pc:sldMk cId="1014123647" sldId="2146847936"/>
            <ac:grpSpMk id="7" creationId="{87D853DC-CB24-05B8-F710-6499B049E28A}"/>
          </ac:grpSpMkLst>
        </pc:grpChg>
        <pc:grpChg chg="add mod">
          <ac:chgData name="Lisa Boyette" userId="24cc2e01-2130-4f78-ae8d-8253b197adea" providerId="ADAL" clId="{04D6EC11-0CE4-48F0-B750-BC7D95EBD056}" dt="2024-03-18T16:42:52.297" v="160" actId="164"/>
          <ac:grpSpMkLst>
            <pc:docMk/>
            <pc:sldMk cId="1014123647" sldId="2146847936"/>
            <ac:grpSpMk id="12" creationId="{32302D86-1157-7775-B4BD-DC3239991806}"/>
          </ac:grpSpMkLst>
        </pc:grpChg>
        <pc:grpChg chg="add mod">
          <ac:chgData name="Lisa Boyette" userId="24cc2e01-2130-4f78-ae8d-8253b197adea" providerId="ADAL" clId="{04D6EC11-0CE4-48F0-B750-BC7D95EBD056}" dt="2024-03-18T16:43:01.111" v="162" actId="164"/>
          <ac:grpSpMkLst>
            <pc:docMk/>
            <pc:sldMk cId="1014123647" sldId="2146847936"/>
            <ac:grpSpMk id="27" creationId="{D1554436-4D9C-5F93-6093-95BB99BBEEE4}"/>
          </ac:grpSpMkLst>
        </pc:grpChg>
        <pc:grpChg chg="add mod">
          <ac:chgData name="Lisa Boyette" userId="24cc2e01-2130-4f78-ae8d-8253b197adea" providerId="ADAL" clId="{04D6EC11-0CE4-48F0-B750-BC7D95EBD056}" dt="2024-03-18T16:44:28.944" v="199" actId="1076"/>
          <ac:grpSpMkLst>
            <pc:docMk/>
            <pc:sldMk cId="1014123647" sldId="2146847936"/>
            <ac:grpSpMk id="8300" creationId="{3E90B0F3-03A8-7CF9-C576-82331D550BC2}"/>
          </ac:grpSpMkLst>
        </pc:grpChg>
        <pc:grpChg chg="add mod">
          <ac:chgData name="Lisa Boyette" userId="24cc2e01-2130-4f78-ae8d-8253b197adea" providerId="ADAL" clId="{04D6EC11-0CE4-48F0-B750-BC7D95EBD056}" dt="2024-03-18T16:44:21.290" v="197" actId="1076"/>
          <ac:grpSpMkLst>
            <pc:docMk/>
            <pc:sldMk cId="1014123647" sldId="2146847936"/>
            <ac:grpSpMk id="8301" creationId="{AD068E57-2FB5-A320-260D-82D12D45C83E}"/>
          </ac:grpSpMkLst>
        </pc:grpChg>
        <pc:cxnChg chg="mod">
          <ac:chgData name="Lisa Boyette" userId="24cc2e01-2130-4f78-ae8d-8253b197adea" providerId="ADAL" clId="{04D6EC11-0CE4-48F0-B750-BC7D95EBD056}" dt="2024-03-18T16:42:35.666" v="156" actId="478"/>
          <ac:cxnSpMkLst>
            <pc:docMk/>
            <pc:sldMk cId="1014123647" sldId="2146847936"/>
            <ac:cxnSpMk id="11" creationId="{26B34AEC-DB81-5A0F-A566-9C23EF65FFF0}"/>
          </ac:cxnSpMkLst>
        </pc:cxnChg>
        <pc:cxnChg chg="mod">
          <ac:chgData name="Lisa Boyette" userId="24cc2e01-2130-4f78-ae8d-8253b197adea" providerId="ADAL" clId="{04D6EC11-0CE4-48F0-B750-BC7D95EBD056}" dt="2024-03-18T16:42:23.023" v="153"/>
          <ac:cxnSpMkLst>
            <pc:docMk/>
            <pc:sldMk cId="1014123647" sldId="2146847936"/>
            <ac:cxnSpMk id="17" creationId="{EBE90DF1-A210-B1E1-5AA0-A303DAAD7CCC}"/>
          </ac:cxnSpMkLst>
        </pc:cxnChg>
        <pc:cxnChg chg="mod">
          <ac:chgData name="Lisa Boyette" userId="24cc2e01-2130-4f78-ae8d-8253b197adea" providerId="ADAL" clId="{04D6EC11-0CE4-48F0-B750-BC7D95EBD056}" dt="2024-03-18T16:42:23.023" v="153"/>
          <ac:cxnSpMkLst>
            <pc:docMk/>
            <pc:sldMk cId="1014123647" sldId="2146847936"/>
            <ac:cxnSpMk id="19" creationId="{2FC9C2B4-8F82-F38D-8BDC-547E8835A31B}"/>
          </ac:cxnSpMkLst>
        </pc:cxnChg>
        <pc:cxnChg chg="mod">
          <ac:chgData name="Lisa Boyette" userId="24cc2e01-2130-4f78-ae8d-8253b197adea" providerId="ADAL" clId="{04D6EC11-0CE4-48F0-B750-BC7D95EBD056}" dt="2024-03-18T16:42:23.023" v="153"/>
          <ac:cxnSpMkLst>
            <pc:docMk/>
            <pc:sldMk cId="1014123647" sldId="2146847936"/>
            <ac:cxnSpMk id="20" creationId="{8760BCD0-0698-16C5-7FB1-6F473ECFB6F2}"/>
          </ac:cxnSpMkLst>
        </pc:cxnChg>
        <pc:cxnChg chg="mod">
          <ac:chgData name="Lisa Boyette" userId="24cc2e01-2130-4f78-ae8d-8253b197adea" providerId="ADAL" clId="{04D6EC11-0CE4-48F0-B750-BC7D95EBD056}" dt="2024-03-18T16:42:23.023" v="153"/>
          <ac:cxnSpMkLst>
            <pc:docMk/>
            <pc:sldMk cId="1014123647" sldId="2146847936"/>
            <ac:cxnSpMk id="21" creationId="{BB10572A-75A4-B709-B3EC-81CD1054BB69}"/>
          </ac:cxnSpMkLst>
        </pc:cxnChg>
        <pc:cxnChg chg="mod">
          <ac:chgData name="Lisa Boyette" userId="24cc2e01-2130-4f78-ae8d-8253b197adea" providerId="ADAL" clId="{04D6EC11-0CE4-48F0-B750-BC7D95EBD056}" dt="2024-03-18T16:42:23.023" v="153"/>
          <ac:cxnSpMkLst>
            <pc:docMk/>
            <pc:sldMk cId="1014123647" sldId="2146847936"/>
            <ac:cxnSpMk id="22" creationId="{A372D616-544A-1B73-A01A-C8BF781A8A12}"/>
          </ac:cxnSpMkLst>
        </pc:cxnChg>
        <pc:cxnChg chg="mod">
          <ac:chgData name="Lisa Boyette" userId="24cc2e01-2130-4f78-ae8d-8253b197adea" providerId="ADAL" clId="{04D6EC11-0CE4-48F0-B750-BC7D95EBD056}" dt="2024-03-18T16:42:23.023" v="153"/>
          <ac:cxnSpMkLst>
            <pc:docMk/>
            <pc:sldMk cId="1014123647" sldId="2146847936"/>
            <ac:cxnSpMk id="25" creationId="{E813AE1E-5394-F7D1-72FC-8214B76CCC2E}"/>
          </ac:cxnSpMkLst>
        </pc:cxnChg>
        <pc:cxnChg chg="mod">
          <ac:chgData name="Lisa Boyette" userId="24cc2e01-2130-4f78-ae8d-8253b197adea" providerId="ADAL" clId="{04D6EC11-0CE4-48F0-B750-BC7D95EBD056}" dt="2024-03-18T16:42:38.115" v="157"/>
          <ac:cxnSpMkLst>
            <pc:docMk/>
            <pc:sldMk cId="1014123647" sldId="2146847936"/>
            <ac:cxnSpMk id="31" creationId="{E722A8D7-C5CA-8E91-4C7A-0E1A1E09F5E1}"/>
          </ac:cxnSpMkLst>
        </pc:cxnChg>
        <pc:cxnChg chg="mod">
          <ac:chgData name="Lisa Boyette" userId="24cc2e01-2130-4f78-ae8d-8253b197adea" providerId="ADAL" clId="{04D6EC11-0CE4-48F0-B750-BC7D95EBD056}" dt="2024-03-18T16:42:35.666" v="156" actId="478"/>
          <ac:cxnSpMkLst>
            <pc:docMk/>
            <pc:sldMk cId="1014123647" sldId="2146847936"/>
            <ac:cxnSpMk id="8239" creationId="{66F1003A-10BF-ED68-3D90-4F335DE6B4D7}"/>
          </ac:cxnSpMkLst>
        </pc:cxnChg>
        <pc:cxnChg chg="mod">
          <ac:chgData name="Lisa Boyette" userId="24cc2e01-2130-4f78-ae8d-8253b197adea" providerId="ADAL" clId="{04D6EC11-0CE4-48F0-B750-BC7D95EBD056}" dt="2024-03-18T16:42:35.666" v="156" actId="478"/>
          <ac:cxnSpMkLst>
            <pc:docMk/>
            <pc:sldMk cId="1014123647" sldId="2146847936"/>
            <ac:cxnSpMk id="8271" creationId="{2BAC0480-B35E-09E4-819C-38B00666607D}"/>
          </ac:cxnSpMkLst>
        </pc:cxnChg>
        <pc:cxnChg chg="mod">
          <ac:chgData name="Lisa Boyette" userId="24cc2e01-2130-4f78-ae8d-8253b197adea" providerId="ADAL" clId="{04D6EC11-0CE4-48F0-B750-BC7D95EBD056}" dt="2024-03-18T16:42:35.666" v="156" actId="478"/>
          <ac:cxnSpMkLst>
            <pc:docMk/>
            <pc:sldMk cId="1014123647" sldId="2146847936"/>
            <ac:cxnSpMk id="8274" creationId="{01B86F4B-9731-BBEE-6D5B-289935F61C61}"/>
          </ac:cxnSpMkLst>
        </pc:cxnChg>
        <pc:cxnChg chg="mod">
          <ac:chgData name="Lisa Boyette" userId="24cc2e01-2130-4f78-ae8d-8253b197adea" providerId="ADAL" clId="{04D6EC11-0CE4-48F0-B750-BC7D95EBD056}" dt="2024-03-18T16:42:35.666" v="156" actId="478"/>
          <ac:cxnSpMkLst>
            <pc:docMk/>
            <pc:sldMk cId="1014123647" sldId="2146847936"/>
            <ac:cxnSpMk id="8287" creationId="{14DBF88B-BEE3-13B6-89D8-0C386B736C51}"/>
          </ac:cxnSpMkLst>
        </pc:cxnChg>
        <pc:cxnChg chg="mod">
          <ac:chgData name="Lisa Boyette" userId="24cc2e01-2130-4f78-ae8d-8253b197adea" providerId="ADAL" clId="{04D6EC11-0CE4-48F0-B750-BC7D95EBD056}" dt="2024-03-18T16:42:35.666" v="156" actId="478"/>
          <ac:cxnSpMkLst>
            <pc:docMk/>
            <pc:sldMk cId="1014123647" sldId="2146847936"/>
            <ac:cxnSpMk id="8289" creationId="{D1BA0F04-4F1A-9F9F-7CFA-A5216E24244B}"/>
          </ac:cxnSpMkLst>
        </pc:cxnChg>
        <pc:cxnChg chg="mod">
          <ac:chgData name="Lisa Boyette" userId="24cc2e01-2130-4f78-ae8d-8253b197adea" providerId="ADAL" clId="{04D6EC11-0CE4-48F0-B750-BC7D95EBD056}" dt="2024-03-18T16:42:38.115" v="157"/>
          <ac:cxnSpMkLst>
            <pc:docMk/>
            <pc:sldMk cId="1014123647" sldId="2146847936"/>
            <ac:cxnSpMk id="8290" creationId="{18920EB9-9172-F175-C0AE-D5E58CE82250}"/>
          </ac:cxnSpMkLst>
        </pc:cxnChg>
        <pc:cxnChg chg="mod">
          <ac:chgData name="Lisa Boyette" userId="24cc2e01-2130-4f78-ae8d-8253b197adea" providerId="ADAL" clId="{04D6EC11-0CE4-48F0-B750-BC7D95EBD056}" dt="2024-03-18T16:42:38.115" v="157"/>
          <ac:cxnSpMkLst>
            <pc:docMk/>
            <pc:sldMk cId="1014123647" sldId="2146847936"/>
            <ac:cxnSpMk id="8291" creationId="{C9E94715-321E-914F-F1D8-E3B73C513D1B}"/>
          </ac:cxnSpMkLst>
        </pc:cxnChg>
        <pc:cxnChg chg="mod">
          <ac:chgData name="Lisa Boyette" userId="24cc2e01-2130-4f78-ae8d-8253b197adea" providerId="ADAL" clId="{04D6EC11-0CE4-48F0-B750-BC7D95EBD056}" dt="2024-03-18T16:42:38.115" v="157"/>
          <ac:cxnSpMkLst>
            <pc:docMk/>
            <pc:sldMk cId="1014123647" sldId="2146847936"/>
            <ac:cxnSpMk id="8292" creationId="{7058AE7A-9E1B-D99C-BB40-9195B9851DAC}"/>
          </ac:cxnSpMkLst>
        </pc:cxnChg>
        <pc:cxnChg chg="mod">
          <ac:chgData name="Lisa Boyette" userId="24cc2e01-2130-4f78-ae8d-8253b197adea" providerId="ADAL" clId="{04D6EC11-0CE4-48F0-B750-BC7D95EBD056}" dt="2024-03-18T16:42:38.115" v="157"/>
          <ac:cxnSpMkLst>
            <pc:docMk/>
            <pc:sldMk cId="1014123647" sldId="2146847936"/>
            <ac:cxnSpMk id="8294" creationId="{7EA93AC6-7FDA-16B2-01B3-E06019FB6FD4}"/>
          </ac:cxnSpMkLst>
        </pc:cxnChg>
        <pc:cxnChg chg="mod">
          <ac:chgData name="Lisa Boyette" userId="24cc2e01-2130-4f78-ae8d-8253b197adea" providerId="ADAL" clId="{04D6EC11-0CE4-48F0-B750-BC7D95EBD056}" dt="2024-03-18T16:42:38.115" v="157"/>
          <ac:cxnSpMkLst>
            <pc:docMk/>
            <pc:sldMk cId="1014123647" sldId="2146847936"/>
            <ac:cxnSpMk id="8298" creationId="{F92B55CC-FBEA-EBE9-D49C-DD149DBD606A}"/>
          </ac:cxnSpMkLst>
        </pc:cxnChg>
      </pc:sldChg>
      <pc:sldChg chg="addSp modSp add mod modCm">
        <pc:chgData name="Lisa Boyette" userId="24cc2e01-2130-4f78-ae8d-8253b197adea" providerId="ADAL" clId="{04D6EC11-0CE4-48F0-B750-BC7D95EBD056}" dt="2024-03-26T16:20:44.232" v="10343" actId="2056"/>
        <pc:sldMkLst>
          <pc:docMk/>
          <pc:sldMk cId="3998398124" sldId="2146847936"/>
        </pc:sldMkLst>
        <pc:spChg chg="mod">
          <ac:chgData name="Lisa Boyette" userId="24cc2e01-2130-4f78-ae8d-8253b197adea" providerId="ADAL" clId="{04D6EC11-0CE4-48F0-B750-BC7D95EBD056}" dt="2024-03-19T21:39:05.034" v="7812" actId="164"/>
          <ac:spMkLst>
            <pc:docMk/>
            <pc:sldMk cId="3998398124" sldId="2146847936"/>
            <ac:spMk id="8303" creationId="{FBCA695B-55D7-2880-8D03-A4216282B8B9}"/>
          </ac:spMkLst>
        </pc:spChg>
        <pc:spChg chg="mod">
          <ac:chgData name="Lisa Boyette" userId="24cc2e01-2130-4f78-ae8d-8253b197adea" providerId="ADAL" clId="{04D6EC11-0CE4-48F0-B750-BC7D95EBD056}" dt="2024-03-19T21:39:35.975" v="7849" actId="14100"/>
          <ac:spMkLst>
            <pc:docMk/>
            <pc:sldMk cId="3998398124" sldId="2146847936"/>
            <ac:spMk id="8304" creationId="{E8B7FA6A-12B3-5A2F-24DB-5FDB7408B4FD}"/>
          </ac:spMkLst>
        </pc:spChg>
        <pc:grpChg chg="add mod">
          <ac:chgData name="Lisa Boyette" userId="24cc2e01-2130-4f78-ae8d-8253b197adea" providerId="ADAL" clId="{04D6EC11-0CE4-48F0-B750-BC7D95EBD056}" dt="2024-03-19T21:39:11.385" v="7832" actId="1036"/>
          <ac:grpSpMkLst>
            <pc:docMk/>
            <pc:sldMk cId="3998398124" sldId="2146847936"/>
            <ac:grpSpMk id="3" creationId="{CC4804F2-9D70-EC5F-3BF3-DE9DAB80ECCC}"/>
          </ac:grpSpMkLst>
        </pc:grpChg>
        <pc:grpChg chg="add mod">
          <ac:chgData name="Lisa Boyette" userId="24cc2e01-2130-4f78-ae8d-8253b197adea" providerId="ADAL" clId="{04D6EC11-0CE4-48F0-B750-BC7D95EBD056}" dt="2024-03-19T21:39:41.143" v="7851" actId="1035"/>
          <ac:grpSpMkLst>
            <pc:docMk/>
            <pc:sldMk cId="3998398124" sldId="2146847936"/>
            <ac:grpSpMk id="4" creationId="{4EF5E34E-A0DD-9059-5BC6-18546F33BA17}"/>
          </ac:grpSpMkLst>
        </pc:grpChg>
        <pc:grpChg chg="mod">
          <ac:chgData name="Lisa Boyette" userId="24cc2e01-2130-4f78-ae8d-8253b197adea" providerId="ADAL" clId="{04D6EC11-0CE4-48F0-B750-BC7D95EBD056}" dt="2024-03-19T21:39:05.034" v="7812" actId="164"/>
          <ac:grpSpMkLst>
            <pc:docMk/>
            <pc:sldMk cId="3998398124" sldId="2146847936"/>
            <ac:grpSpMk id="8300" creationId="{3E90B0F3-03A8-7CF9-C576-82331D550BC2}"/>
          </ac:grpSpMkLst>
        </pc:grpChg>
        <pc:grpChg chg="mod">
          <ac:chgData name="Lisa Boyette" userId="24cc2e01-2130-4f78-ae8d-8253b197adea" providerId="ADAL" clId="{04D6EC11-0CE4-48F0-B750-BC7D95EBD056}" dt="2024-03-19T21:39:16.501" v="7833" actId="164"/>
          <ac:grpSpMkLst>
            <pc:docMk/>
            <pc:sldMk cId="3998398124" sldId="2146847936"/>
            <ac:grpSpMk id="8301" creationId="{AD068E57-2FB5-A320-260D-82D12D45C83E}"/>
          </ac:grpSpMkLst>
        </pc:grpChg>
      </pc:sldChg>
      <pc:sldChg chg="modSp add del mod">
        <pc:chgData name="Lisa Boyette" userId="24cc2e01-2130-4f78-ae8d-8253b197adea" providerId="ADAL" clId="{04D6EC11-0CE4-48F0-B750-BC7D95EBD056}" dt="2024-03-19T02:20:52.060" v="4548" actId="2696"/>
        <pc:sldMkLst>
          <pc:docMk/>
          <pc:sldMk cId="1226772100" sldId="2146847938"/>
        </pc:sldMkLst>
        <pc:spChg chg="mod">
          <ac:chgData name="Lisa Boyette" userId="24cc2e01-2130-4f78-ae8d-8253b197adea" providerId="ADAL" clId="{04D6EC11-0CE4-48F0-B750-BC7D95EBD056}" dt="2024-03-18T16:46:26.898" v="228" actId="255"/>
          <ac:spMkLst>
            <pc:docMk/>
            <pc:sldMk cId="1226772100" sldId="2146847938"/>
            <ac:spMk id="2" creationId="{00000000-0000-0000-0000-000000000000}"/>
          </ac:spMkLst>
        </pc:spChg>
        <pc:spChg chg="mod">
          <ac:chgData name="Lisa Boyette" userId="24cc2e01-2130-4f78-ae8d-8253b197adea" providerId="ADAL" clId="{04D6EC11-0CE4-48F0-B750-BC7D95EBD056}" dt="2024-03-18T16:46:51.421" v="248" actId="14100"/>
          <ac:spMkLst>
            <pc:docMk/>
            <pc:sldMk cId="1226772100" sldId="2146847938"/>
            <ac:spMk id="6" creationId="{FB003401-A989-B2D6-4734-EF020EF53920}"/>
          </ac:spMkLst>
        </pc:spChg>
        <pc:graphicFrameChg chg="modGraphic">
          <ac:chgData name="Lisa Boyette" userId="24cc2e01-2130-4f78-ae8d-8253b197adea" providerId="ADAL" clId="{04D6EC11-0CE4-48F0-B750-BC7D95EBD056}" dt="2024-03-18T16:47:47.832" v="277" actId="20577"/>
          <ac:graphicFrameMkLst>
            <pc:docMk/>
            <pc:sldMk cId="1226772100" sldId="2146847938"/>
            <ac:graphicFrameMk id="5" creationId="{8B36D40D-753D-BEB4-39A4-D1040A0CB323}"/>
          </ac:graphicFrameMkLst>
        </pc:graphicFrameChg>
      </pc:sldChg>
      <pc:sldChg chg="modSp add mod">
        <pc:chgData name="Lisa Boyette" userId="24cc2e01-2130-4f78-ae8d-8253b197adea" providerId="ADAL" clId="{04D6EC11-0CE4-48F0-B750-BC7D95EBD056}" dt="2024-03-19T02:52:17.750" v="6760" actId="1035"/>
        <pc:sldMkLst>
          <pc:docMk/>
          <pc:sldMk cId="2212317420" sldId="2146847938"/>
        </pc:sldMkLst>
        <pc:spChg chg="mod">
          <ac:chgData name="Lisa Boyette" userId="24cc2e01-2130-4f78-ae8d-8253b197adea" providerId="ADAL" clId="{04D6EC11-0CE4-48F0-B750-BC7D95EBD056}" dt="2024-03-19T02:52:17.750" v="6760" actId="1035"/>
          <ac:spMkLst>
            <pc:docMk/>
            <pc:sldMk cId="2212317420" sldId="2146847938"/>
            <ac:spMk id="4" creationId="{BF5B135B-1B07-5516-1C64-BFB78718F221}"/>
          </ac:spMkLst>
        </pc:spChg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2970432549" sldId="2146847938"/>
        </pc:sldMkLst>
      </pc:sldChg>
      <pc:sldChg chg="del">
        <pc:chgData name="Lisa Boyette" userId="24cc2e01-2130-4f78-ae8d-8253b197adea" providerId="ADAL" clId="{04D6EC11-0CE4-48F0-B750-BC7D95EBD056}" dt="2024-03-19T01:20:53.484" v="3478" actId="47"/>
        <pc:sldMkLst>
          <pc:docMk/>
          <pc:sldMk cId="834355059" sldId="2146847939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1902497978" sldId="2146847940"/>
        </pc:sldMkLst>
      </pc:sldChg>
      <pc:sldChg chg="add">
        <pc:chgData name="Lisa Boyette" userId="24cc2e01-2130-4f78-ae8d-8253b197adea" providerId="ADAL" clId="{04D6EC11-0CE4-48F0-B750-BC7D95EBD056}" dt="2024-03-19T01:20:42.527" v="3476"/>
        <pc:sldMkLst>
          <pc:docMk/>
          <pc:sldMk cId="3225311753" sldId="2146847941"/>
        </pc:sldMkLst>
      </pc:sldChg>
      <pc:sldChg chg="del">
        <pc:chgData name="Lisa Boyette" userId="24cc2e01-2130-4f78-ae8d-8253b197adea" providerId="ADAL" clId="{04D6EC11-0CE4-48F0-B750-BC7D95EBD056}" dt="2024-03-19T01:20:40.261" v="3475" actId="2696"/>
        <pc:sldMkLst>
          <pc:docMk/>
          <pc:sldMk cId="4240670260" sldId="2146847941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3015154165" sldId="2146847942"/>
        </pc:sldMkLst>
      </pc:sldChg>
      <pc:sldChg chg="del">
        <pc:chgData name="Lisa Boyette" userId="24cc2e01-2130-4f78-ae8d-8253b197adea" providerId="ADAL" clId="{04D6EC11-0CE4-48F0-B750-BC7D95EBD056}" dt="2024-03-19T01:21:13.987" v="3479" actId="47"/>
        <pc:sldMkLst>
          <pc:docMk/>
          <pc:sldMk cId="3809615134" sldId="2147308809"/>
        </pc:sldMkLst>
      </pc:sldChg>
      <pc:sldChg chg="modSp mod">
        <pc:chgData name="Lisa Boyette" userId="24cc2e01-2130-4f78-ae8d-8253b197adea" providerId="ADAL" clId="{04D6EC11-0CE4-48F0-B750-BC7D95EBD056}" dt="2024-03-20T14:50:44.058" v="8833" actId="20577"/>
        <pc:sldMkLst>
          <pc:docMk/>
          <pc:sldMk cId="946590102" sldId="2147308821"/>
        </pc:sldMkLst>
        <pc:spChg chg="mod">
          <ac:chgData name="Lisa Boyette" userId="24cc2e01-2130-4f78-ae8d-8253b197adea" providerId="ADAL" clId="{04D6EC11-0CE4-48F0-B750-BC7D95EBD056}" dt="2024-03-20T14:50:44.058" v="8833" actId="20577"/>
          <ac:spMkLst>
            <pc:docMk/>
            <pc:sldMk cId="946590102" sldId="2147308821"/>
            <ac:spMk id="6" creationId="{0E2A46DD-098F-484D-09AC-9839806A3F90}"/>
          </ac:spMkLst>
        </pc:spChg>
      </pc:sldChg>
      <pc:sldChg chg="modSp mod modCm">
        <pc:chgData name="Lisa Boyette" userId="24cc2e01-2130-4f78-ae8d-8253b197adea" providerId="ADAL" clId="{04D6EC11-0CE4-48F0-B750-BC7D95EBD056}" dt="2024-03-21T13:37:31.460" v="9551" actId="20577"/>
        <pc:sldMkLst>
          <pc:docMk/>
          <pc:sldMk cId="11518599" sldId="2147308834"/>
        </pc:sldMkLst>
        <pc:spChg chg="mod">
          <ac:chgData name="Lisa Boyette" userId="24cc2e01-2130-4f78-ae8d-8253b197adea" providerId="ADAL" clId="{04D6EC11-0CE4-48F0-B750-BC7D95EBD056}" dt="2024-03-21T13:37:31.460" v="9551" actId="20577"/>
          <ac:spMkLst>
            <pc:docMk/>
            <pc:sldMk cId="11518599" sldId="2147308834"/>
            <ac:spMk id="3" creationId="{71B74FEB-1A2D-FF9C-BA35-C7DAD4E39E8F}"/>
          </ac:spMkLst>
        </pc:spChg>
      </pc:sldChg>
      <pc:sldChg chg="addSp modSp add mod ord">
        <pc:chgData name="Lisa Boyette" userId="24cc2e01-2130-4f78-ae8d-8253b197adea" providerId="ADAL" clId="{04D6EC11-0CE4-48F0-B750-BC7D95EBD056}" dt="2024-03-21T13:38:25.472" v="9588" actId="1076"/>
        <pc:sldMkLst>
          <pc:docMk/>
          <pc:sldMk cId="2125833813" sldId="2147471529"/>
        </pc:sldMkLst>
        <pc:spChg chg="add mod">
          <ac:chgData name="Lisa Boyette" userId="24cc2e01-2130-4f78-ae8d-8253b197adea" providerId="ADAL" clId="{04D6EC11-0CE4-48F0-B750-BC7D95EBD056}" dt="2024-03-21T13:38:25.472" v="9588" actId="1076"/>
          <ac:spMkLst>
            <pc:docMk/>
            <pc:sldMk cId="2125833813" sldId="2147471529"/>
            <ac:spMk id="10" creationId="{9A5A69CE-9DAE-268E-A62B-E5AD8CE848EB}"/>
          </ac:spMkLst>
        </pc:spChg>
        <pc:spChg chg="mod">
          <ac:chgData name="Lisa Boyette" userId="24cc2e01-2130-4f78-ae8d-8253b197adea" providerId="ADAL" clId="{04D6EC11-0CE4-48F0-B750-BC7D95EBD056}" dt="2024-03-20T19:11:27.079" v="9035" actId="20577"/>
          <ac:spMkLst>
            <pc:docMk/>
            <pc:sldMk cId="2125833813" sldId="2147471529"/>
            <ac:spMk id="75" creationId="{639C49A6-C537-57E0-5CF7-1468581241F6}"/>
          </ac:spMkLst>
        </pc:spChg>
      </pc:sldChg>
      <pc:sldChg chg="add del">
        <pc:chgData name="Lisa Boyette" userId="24cc2e01-2130-4f78-ae8d-8253b197adea" providerId="ADAL" clId="{04D6EC11-0CE4-48F0-B750-BC7D95EBD056}" dt="2024-03-20T14:39:58.482" v="8623" actId="47"/>
        <pc:sldMkLst>
          <pc:docMk/>
          <pc:sldMk cId="891057904" sldId="2147471742"/>
        </pc:sldMkLst>
      </pc:sldChg>
      <pc:sldChg chg="addSp delSp modSp del mod modClrScheme modCm chgLayout">
        <pc:chgData name="Lisa Boyette" userId="24cc2e01-2130-4f78-ae8d-8253b197adea" providerId="ADAL" clId="{04D6EC11-0CE4-48F0-B750-BC7D95EBD056}" dt="2024-03-20T02:52:11.352" v="8311" actId="2696"/>
        <pc:sldMkLst>
          <pc:docMk/>
          <pc:sldMk cId="2584841147" sldId="2147471742"/>
        </pc:sldMkLst>
        <pc:spChg chg="add del mod ord">
          <ac:chgData name="Lisa Boyette" userId="24cc2e01-2130-4f78-ae8d-8253b197adea" providerId="ADAL" clId="{04D6EC11-0CE4-48F0-B750-BC7D95EBD056}" dt="2024-03-19T03:02:58.381" v="7085" actId="700"/>
          <ac:spMkLst>
            <pc:docMk/>
            <pc:sldMk cId="2584841147" sldId="2147471742"/>
            <ac:spMk id="3" creationId="{622A5BB4-A5DF-E313-0F0B-A567D105C519}"/>
          </ac:spMkLst>
        </pc:spChg>
        <pc:spChg chg="mod ord">
          <ac:chgData name="Lisa Boyette" userId="24cc2e01-2130-4f78-ae8d-8253b197adea" providerId="ADAL" clId="{04D6EC11-0CE4-48F0-B750-BC7D95EBD056}" dt="2024-03-19T03:02:58.381" v="7085" actId="700"/>
          <ac:spMkLst>
            <pc:docMk/>
            <pc:sldMk cId="2584841147" sldId="2147471742"/>
            <ac:spMk id="4" creationId="{E0A95E15-02AE-B64B-857D-D16416ED60FC}"/>
          </ac:spMkLst>
        </pc:spChg>
        <pc:spChg chg="del">
          <ac:chgData name="Lisa Boyette" userId="24cc2e01-2130-4f78-ae8d-8253b197adea" providerId="ADAL" clId="{04D6EC11-0CE4-48F0-B750-BC7D95EBD056}" dt="2024-03-19T03:03:11.230" v="7089" actId="478"/>
          <ac:spMkLst>
            <pc:docMk/>
            <pc:sldMk cId="2584841147" sldId="2147471742"/>
            <ac:spMk id="5" creationId="{7DFCAC43-7E4B-4542-957B-E13E321D2A71}"/>
          </ac:spMkLst>
        </pc:spChg>
        <pc:spChg chg="mod ord">
          <ac:chgData name="Lisa Boyette" userId="24cc2e01-2130-4f78-ae8d-8253b197adea" providerId="ADAL" clId="{04D6EC11-0CE4-48F0-B750-BC7D95EBD056}" dt="2024-03-19T03:03:40.740" v="7094" actId="255"/>
          <ac:spMkLst>
            <pc:docMk/>
            <pc:sldMk cId="2584841147" sldId="2147471742"/>
            <ac:spMk id="40" creationId="{8A64CF47-DCFD-5E4F-9419-0C92810259DF}"/>
          </ac:spMkLst>
        </pc:spChg>
        <pc:graphicFrameChg chg="mod modGraphic">
          <ac:chgData name="Lisa Boyette" userId="24cc2e01-2130-4f78-ae8d-8253b197adea" providerId="ADAL" clId="{04D6EC11-0CE4-48F0-B750-BC7D95EBD056}" dt="2024-03-19T21:37:22.903" v="7789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  <pc:sldChg chg="modCm">
        <pc:chgData name="Lisa Boyette" userId="24cc2e01-2130-4f78-ae8d-8253b197adea" providerId="ADAL" clId="{04D6EC11-0CE4-48F0-B750-BC7D95EBD056}" dt="2024-03-25T23:25:39.918" v="10342" actId="2056"/>
        <pc:sldMkLst>
          <pc:docMk/>
          <pc:sldMk cId="3190076938" sldId="2147472670"/>
        </pc:sldMkLst>
      </pc:sldChg>
      <pc:sldChg chg="del">
        <pc:chgData name="Lisa Boyette" userId="24cc2e01-2130-4f78-ae8d-8253b197adea" providerId="ADAL" clId="{04D6EC11-0CE4-48F0-B750-BC7D95EBD056}" dt="2024-03-19T02:21:15.170" v="4550" actId="47"/>
        <pc:sldMkLst>
          <pc:docMk/>
          <pc:sldMk cId="2619941568" sldId="2147479352"/>
        </pc:sldMkLst>
      </pc:sldChg>
      <pc:sldChg chg="modSp del mod delCm modCm">
        <pc:chgData name="Lisa Boyette" userId="24cc2e01-2130-4f78-ae8d-8253b197adea" providerId="ADAL" clId="{04D6EC11-0CE4-48F0-B750-BC7D95EBD056}" dt="2024-03-21T13:37:18.523" v="9545" actId="47"/>
        <pc:sldMkLst>
          <pc:docMk/>
          <pc:sldMk cId="881740034" sldId="2147479353"/>
        </pc:sldMkLst>
        <pc:spChg chg="mod">
          <ac:chgData name="Lisa Boyette" userId="24cc2e01-2130-4f78-ae8d-8253b197adea" providerId="ADAL" clId="{04D6EC11-0CE4-48F0-B750-BC7D95EBD056}" dt="2024-03-20T14:32:24.167" v="8536" actId="21"/>
          <ac:spMkLst>
            <pc:docMk/>
            <pc:sldMk cId="881740034" sldId="2147479353"/>
            <ac:spMk id="3" creationId="{7D836601-6754-9347-8E4F-019A9E8569EC}"/>
          </ac:spMkLst>
        </pc:spChg>
      </pc:sldChg>
      <pc:sldChg chg="add">
        <pc:chgData name="Lisa Boyette" userId="24cc2e01-2130-4f78-ae8d-8253b197adea" providerId="ADAL" clId="{04D6EC11-0CE4-48F0-B750-BC7D95EBD056}" dt="2024-03-19T02:21:02.190" v="4549"/>
        <pc:sldMkLst>
          <pc:docMk/>
          <pc:sldMk cId="2387627038" sldId="2147479354"/>
        </pc:sldMkLst>
      </pc:sldChg>
      <pc:sldChg chg="add del">
        <pc:chgData name="Lisa Boyette" userId="24cc2e01-2130-4f78-ae8d-8253b197adea" providerId="ADAL" clId="{04D6EC11-0CE4-48F0-B750-BC7D95EBD056}" dt="2024-03-19T02:20:52.060" v="4548" actId="2696"/>
        <pc:sldMkLst>
          <pc:docMk/>
          <pc:sldMk cId="3409962921" sldId="2147479354"/>
        </pc:sldMkLst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3615760298" sldId="2147479354"/>
        </pc:sldMkLst>
      </pc:sldChg>
      <pc:sldChg chg="ord">
        <pc:chgData name="Lisa Boyette" userId="24cc2e01-2130-4f78-ae8d-8253b197adea" providerId="ADAL" clId="{04D6EC11-0CE4-48F0-B750-BC7D95EBD056}" dt="2024-03-19T01:27:17.026" v="3488"/>
        <pc:sldMkLst>
          <pc:docMk/>
          <pc:sldMk cId="4285167944" sldId="2147479356"/>
        </pc:sldMkLst>
      </pc:sldChg>
      <pc:sldChg chg="modSp del mod">
        <pc:chgData name="Lisa Boyette" userId="24cc2e01-2130-4f78-ae8d-8253b197adea" providerId="ADAL" clId="{04D6EC11-0CE4-48F0-B750-BC7D95EBD056}" dt="2024-03-20T14:33:02.807" v="8547" actId="2696"/>
        <pc:sldMkLst>
          <pc:docMk/>
          <pc:sldMk cId="1351195157" sldId="2147479360"/>
        </pc:sldMkLst>
        <pc:spChg chg="mod">
          <ac:chgData name="Lisa Boyette" userId="24cc2e01-2130-4f78-ae8d-8253b197adea" providerId="ADAL" clId="{04D6EC11-0CE4-48F0-B750-BC7D95EBD056}" dt="2024-03-20T14:32:58.042" v="8546" actId="20577"/>
          <ac:spMkLst>
            <pc:docMk/>
            <pc:sldMk cId="1351195157" sldId="2147479360"/>
            <ac:spMk id="2" creationId="{127232C7-0B25-5CD7-2B23-912ED2D3114B}"/>
          </ac:spMkLst>
        </pc:spChg>
      </pc:sldChg>
      <pc:sldChg chg="add del ord">
        <pc:chgData name="Lisa Boyette" userId="24cc2e01-2130-4f78-ae8d-8253b197adea" providerId="ADAL" clId="{04D6EC11-0CE4-48F0-B750-BC7D95EBD056}" dt="2024-03-21T13:45:03.038" v="9862" actId="47"/>
        <pc:sldMkLst>
          <pc:docMk/>
          <pc:sldMk cId="3796450451" sldId="2147479360"/>
        </pc:sldMkLst>
      </pc:sldChg>
      <pc:sldChg chg="del">
        <pc:chgData name="Lisa Boyette" userId="24cc2e01-2130-4f78-ae8d-8253b197adea" providerId="ADAL" clId="{04D6EC11-0CE4-48F0-B750-BC7D95EBD056}" dt="2024-03-19T01:20:18.126" v="3450" actId="47"/>
        <pc:sldMkLst>
          <pc:docMk/>
          <pc:sldMk cId="1515416734" sldId="2147479408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122731162" sldId="2147479409"/>
        </pc:sldMkLst>
      </pc:sldChg>
      <pc:sldChg chg="del">
        <pc:chgData name="Lisa Boyette" userId="24cc2e01-2130-4f78-ae8d-8253b197adea" providerId="ADAL" clId="{04D6EC11-0CE4-48F0-B750-BC7D95EBD056}" dt="2024-03-19T02:21:15.170" v="4550" actId="47"/>
        <pc:sldMkLst>
          <pc:docMk/>
          <pc:sldMk cId="3737410860" sldId="2147479412"/>
        </pc:sldMkLst>
      </pc:sldChg>
      <pc:sldChg chg="del">
        <pc:chgData name="Lisa Boyette" userId="24cc2e01-2130-4f78-ae8d-8253b197adea" providerId="ADAL" clId="{04D6EC11-0CE4-48F0-B750-BC7D95EBD056}" dt="2024-03-19T02:21:15.170" v="4550" actId="47"/>
        <pc:sldMkLst>
          <pc:docMk/>
          <pc:sldMk cId="1238126933" sldId="2147479415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3354079267" sldId="2147479416"/>
        </pc:sldMkLst>
      </pc:sldChg>
      <pc:sldChg chg="modSp mod">
        <pc:chgData name="Lisa Boyette" userId="24cc2e01-2130-4f78-ae8d-8253b197adea" providerId="ADAL" clId="{04D6EC11-0CE4-48F0-B750-BC7D95EBD056}" dt="2024-03-19T01:19:54.378" v="3449" actId="20577"/>
        <pc:sldMkLst>
          <pc:docMk/>
          <pc:sldMk cId="846570333" sldId="2147479418"/>
        </pc:sldMkLst>
        <pc:spChg chg="mod">
          <ac:chgData name="Lisa Boyette" userId="24cc2e01-2130-4f78-ae8d-8253b197adea" providerId="ADAL" clId="{04D6EC11-0CE4-48F0-B750-BC7D95EBD056}" dt="2024-03-19T01:19:54.378" v="3449" actId="20577"/>
          <ac:spMkLst>
            <pc:docMk/>
            <pc:sldMk cId="846570333" sldId="2147479418"/>
            <ac:spMk id="2" creationId="{729B2313-5FE4-75C4-5DFF-1558067A7D1A}"/>
          </ac:spMkLst>
        </pc:spChg>
      </pc:sldChg>
      <pc:sldChg chg="add del">
        <pc:chgData name="Lisa Boyette" userId="24cc2e01-2130-4f78-ae8d-8253b197adea" providerId="ADAL" clId="{04D6EC11-0CE4-48F0-B750-BC7D95EBD056}" dt="2024-03-20T14:40:55.372" v="8628"/>
        <pc:sldMkLst>
          <pc:docMk/>
          <pc:sldMk cId="973660725" sldId="2147479420"/>
        </pc:sldMkLst>
      </pc:sldChg>
      <pc:sldChg chg="del">
        <pc:chgData name="Lisa Boyette" userId="24cc2e01-2130-4f78-ae8d-8253b197adea" providerId="ADAL" clId="{04D6EC11-0CE4-48F0-B750-BC7D95EBD056}" dt="2024-03-20T14:40:33.542" v="8626" actId="2696"/>
        <pc:sldMkLst>
          <pc:docMk/>
          <pc:sldMk cId="2310447717" sldId="2147479420"/>
        </pc:sldMkLst>
      </pc:sldChg>
      <pc:sldChg chg="delSp modSp add mod ord modClrScheme chgLayout">
        <pc:chgData name="Lisa Boyette" userId="24cc2e01-2130-4f78-ae8d-8253b197adea" providerId="ADAL" clId="{04D6EC11-0CE4-48F0-B750-BC7D95EBD056}" dt="2024-03-20T19:07:53.734" v="9027"/>
        <pc:sldMkLst>
          <pc:docMk/>
          <pc:sldMk cId="3183540392" sldId="2147479420"/>
        </pc:sldMkLst>
        <pc:spChg chg="mod ord">
          <ac:chgData name="Lisa Boyette" userId="24cc2e01-2130-4f78-ae8d-8253b197adea" providerId="ADAL" clId="{04D6EC11-0CE4-48F0-B750-BC7D95EBD056}" dt="2024-03-20T14:48:52.538" v="8762" actId="1076"/>
          <ac:spMkLst>
            <pc:docMk/>
            <pc:sldMk cId="3183540392" sldId="2147479420"/>
            <ac:spMk id="2" creationId="{7FD44136-080F-BB83-8121-6E9355CB42BE}"/>
          </ac:spMkLst>
        </pc:spChg>
        <pc:spChg chg="del">
          <ac:chgData name="Lisa Boyette" userId="24cc2e01-2130-4f78-ae8d-8253b197adea" providerId="ADAL" clId="{04D6EC11-0CE4-48F0-B750-BC7D95EBD056}" dt="2024-03-20T14:49:04.773" v="8763" actId="478"/>
          <ac:spMkLst>
            <pc:docMk/>
            <pc:sldMk cId="3183540392" sldId="2147479420"/>
            <ac:spMk id="7" creationId="{9D9FBD64-51A3-9F3D-BB45-40931A78C416}"/>
          </ac:spMkLst>
        </pc:spChg>
        <pc:spChg chg="mod">
          <ac:chgData name="Lisa Boyette" userId="24cc2e01-2130-4f78-ae8d-8253b197adea" providerId="ADAL" clId="{04D6EC11-0CE4-48F0-B750-BC7D95EBD056}" dt="2024-03-20T14:49:13.115" v="8764" actId="1076"/>
          <ac:spMkLst>
            <pc:docMk/>
            <pc:sldMk cId="3183540392" sldId="2147479420"/>
            <ac:spMk id="25" creationId="{205E3F1B-AC5F-68AC-03FB-A7CFE66660E8}"/>
          </ac:spMkLst>
        </pc:spChg>
      </pc:sldChg>
      <pc:sldChg chg="del">
        <pc:chgData name="Lisa Boyette" userId="24cc2e01-2130-4f78-ae8d-8253b197adea" providerId="ADAL" clId="{04D6EC11-0CE4-48F0-B750-BC7D95EBD056}" dt="2024-03-19T01:20:53.484" v="3478" actId="47"/>
        <pc:sldMkLst>
          <pc:docMk/>
          <pc:sldMk cId="1434062901" sldId="2147479421"/>
        </pc:sldMkLst>
      </pc:sldChg>
      <pc:sldChg chg="modSp mod">
        <pc:chgData name="Lisa Boyette" userId="24cc2e01-2130-4f78-ae8d-8253b197adea" providerId="ADAL" clId="{04D6EC11-0CE4-48F0-B750-BC7D95EBD056}" dt="2024-03-21T13:44:25.502" v="9849" actId="20577"/>
        <pc:sldMkLst>
          <pc:docMk/>
          <pc:sldMk cId="2778654706" sldId="2147479426"/>
        </pc:sldMkLst>
        <pc:spChg chg="mod">
          <ac:chgData name="Lisa Boyette" userId="24cc2e01-2130-4f78-ae8d-8253b197adea" providerId="ADAL" clId="{04D6EC11-0CE4-48F0-B750-BC7D95EBD056}" dt="2024-03-21T13:44:25.502" v="9849" actId="20577"/>
          <ac:spMkLst>
            <pc:docMk/>
            <pc:sldMk cId="2778654706" sldId="2147479426"/>
            <ac:spMk id="2" creationId="{5354029C-42F0-FEBB-4DA3-93088E7981AE}"/>
          </ac:spMkLst>
        </pc:spChg>
        <pc:spChg chg="mod">
          <ac:chgData name="Lisa Boyette" userId="24cc2e01-2130-4f78-ae8d-8253b197adea" providerId="ADAL" clId="{04D6EC11-0CE4-48F0-B750-BC7D95EBD056}" dt="2024-03-21T13:39:33.424" v="9599" actId="20577"/>
          <ac:spMkLst>
            <pc:docMk/>
            <pc:sldMk cId="2778654706" sldId="2147479426"/>
            <ac:spMk id="3" creationId="{C6145EF6-3760-64C2-0384-F9533F7A9648}"/>
          </ac:spMkLst>
        </pc:spChg>
      </pc:sldChg>
      <pc:sldChg chg="modSp mod">
        <pc:chgData name="Lisa Boyette" userId="24cc2e01-2130-4f78-ae8d-8253b197adea" providerId="ADAL" clId="{04D6EC11-0CE4-48F0-B750-BC7D95EBD056}" dt="2024-03-19T03:16:44.308" v="7424" actId="20577"/>
        <pc:sldMkLst>
          <pc:docMk/>
          <pc:sldMk cId="64672287" sldId="2147479427"/>
        </pc:sldMkLst>
        <pc:spChg chg="mod">
          <ac:chgData name="Lisa Boyette" userId="24cc2e01-2130-4f78-ae8d-8253b197adea" providerId="ADAL" clId="{04D6EC11-0CE4-48F0-B750-BC7D95EBD056}" dt="2024-03-19T03:16:44.308" v="7424" actId="20577"/>
          <ac:spMkLst>
            <pc:docMk/>
            <pc:sldMk cId="64672287" sldId="2147479427"/>
            <ac:spMk id="2" creationId="{09E52552-3E82-EBF0-C465-E29FBFA71F99}"/>
          </ac:spMkLst>
        </pc:spChg>
      </pc:sldChg>
      <pc:sldChg chg="modSp del mod">
        <pc:chgData name="Lisa Boyette" userId="24cc2e01-2130-4f78-ae8d-8253b197adea" providerId="ADAL" clId="{04D6EC11-0CE4-48F0-B750-BC7D95EBD056}" dt="2024-03-20T14:40:24.684" v="8625" actId="47"/>
        <pc:sldMkLst>
          <pc:docMk/>
          <pc:sldMk cId="1526386012" sldId="2147479428"/>
        </pc:sldMkLst>
        <pc:spChg chg="mod">
          <ac:chgData name="Lisa Boyette" userId="24cc2e01-2130-4f78-ae8d-8253b197adea" providerId="ADAL" clId="{04D6EC11-0CE4-48F0-B750-BC7D95EBD056}" dt="2024-03-19T01:20:32.903" v="3474" actId="20577"/>
          <ac:spMkLst>
            <pc:docMk/>
            <pc:sldMk cId="1526386012" sldId="2147479428"/>
            <ac:spMk id="2" creationId="{09E52552-3E82-EBF0-C465-E29FBFA71F99}"/>
          </ac:spMkLst>
        </pc:spChg>
      </pc:sldChg>
      <pc:sldChg chg="del">
        <pc:chgData name="Lisa Boyette" userId="24cc2e01-2130-4f78-ae8d-8253b197adea" providerId="ADAL" clId="{04D6EC11-0CE4-48F0-B750-BC7D95EBD056}" dt="2024-03-19T02:05:50.775" v="4357" actId="2696"/>
        <pc:sldMkLst>
          <pc:docMk/>
          <pc:sldMk cId="491025675" sldId="2147479430"/>
        </pc:sldMkLst>
      </pc:sldChg>
      <pc:sldChg chg="add del">
        <pc:chgData name="Lisa Boyette" userId="24cc2e01-2130-4f78-ae8d-8253b197adea" providerId="ADAL" clId="{04D6EC11-0CE4-48F0-B750-BC7D95EBD056}" dt="2024-03-19T03:17:04.610" v="7425" actId="47"/>
        <pc:sldMkLst>
          <pc:docMk/>
          <pc:sldMk cId="781199115" sldId="2147479430"/>
        </pc:sldMkLst>
      </pc:sldChg>
      <pc:sldChg chg="add del">
        <pc:chgData name="Lisa Boyette" userId="24cc2e01-2130-4f78-ae8d-8253b197adea" providerId="ADAL" clId="{04D6EC11-0CE4-48F0-B750-BC7D95EBD056}" dt="2024-03-19T02:20:52.060" v="4548" actId="2696"/>
        <pc:sldMkLst>
          <pc:docMk/>
          <pc:sldMk cId="2589391496" sldId="2147479431"/>
        </pc:sldMkLst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3038304972" sldId="2147479431"/>
        </pc:sldMkLst>
      </pc:sldChg>
      <pc:sldChg chg="modSp add mod modCm">
        <pc:chgData name="Lisa Boyette" userId="24cc2e01-2130-4f78-ae8d-8253b197adea" providerId="ADAL" clId="{04D6EC11-0CE4-48F0-B750-BC7D95EBD056}" dt="2024-03-21T13:44:53.421" v="9860" actId="27636"/>
        <pc:sldMkLst>
          <pc:docMk/>
          <pc:sldMk cId="3049584673" sldId="2147479431"/>
        </pc:sldMkLst>
        <pc:spChg chg="mod">
          <ac:chgData name="Lisa Boyette" userId="24cc2e01-2130-4f78-ae8d-8253b197adea" providerId="ADAL" clId="{04D6EC11-0CE4-48F0-B750-BC7D95EBD056}" dt="2024-03-21T13:44:19.554" v="9845" actId="20577"/>
          <ac:spMkLst>
            <pc:docMk/>
            <pc:sldMk cId="3049584673" sldId="2147479431"/>
            <ac:spMk id="2" creationId="{5354029C-42F0-FEBB-4DA3-93088E7981AE}"/>
          </ac:spMkLst>
        </pc:spChg>
        <pc:spChg chg="mod">
          <ac:chgData name="Lisa Boyette" userId="24cc2e01-2130-4f78-ae8d-8253b197adea" providerId="ADAL" clId="{04D6EC11-0CE4-48F0-B750-BC7D95EBD056}" dt="2024-03-21T13:44:53.421" v="9860" actId="27636"/>
          <ac:spMkLst>
            <pc:docMk/>
            <pc:sldMk cId="3049584673" sldId="2147479431"/>
            <ac:spMk id="3" creationId="{C6145EF6-3760-64C2-0384-F9533F7A9648}"/>
          </ac:spMkLst>
        </pc:spChg>
      </pc:sldChg>
      <pc:sldChg chg="del">
        <pc:chgData name="Lisa Boyette" userId="24cc2e01-2130-4f78-ae8d-8253b197adea" providerId="ADAL" clId="{04D6EC11-0CE4-48F0-B750-BC7D95EBD056}" dt="2024-03-18T17:54:59.579" v="512" actId="47"/>
        <pc:sldMkLst>
          <pc:docMk/>
          <pc:sldMk cId="3993775218" sldId="2147479435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3786690198" sldId="2147479437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1652830289" sldId="2147479438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1991597557" sldId="2147479439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227857887" sldId="2147479440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1412058370" sldId="2147479441"/>
        </pc:sldMkLst>
      </pc:sldChg>
      <pc:sldChg chg="del">
        <pc:chgData name="Lisa Boyette" userId="24cc2e01-2130-4f78-ae8d-8253b197adea" providerId="ADAL" clId="{04D6EC11-0CE4-48F0-B750-BC7D95EBD056}" dt="2024-03-18T17:52:34.445" v="511" actId="47"/>
        <pc:sldMkLst>
          <pc:docMk/>
          <pc:sldMk cId="311068218" sldId="2147479442"/>
        </pc:sldMkLst>
      </pc:sldChg>
      <pc:sldChg chg="del">
        <pc:chgData name="Lisa Boyette" userId="24cc2e01-2130-4f78-ae8d-8253b197adea" providerId="ADAL" clId="{04D6EC11-0CE4-48F0-B750-BC7D95EBD056}" dt="2024-03-18T17:55:08.286" v="514" actId="47"/>
        <pc:sldMkLst>
          <pc:docMk/>
          <pc:sldMk cId="3512055902" sldId="2147479443"/>
        </pc:sldMkLst>
      </pc:sldChg>
      <pc:sldChg chg="del">
        <pc:chgData name="Lisa Boyette" userId="24cc2e01-2130-4f78-ae8d-8253b197adea" providerId="ADAL" clId="{04D6EC11-0CE4-48F0-B750-BC7D95EBD056}" dt="2024-03-18T17:55:08.406" v="515" actId="47"/>
        <pc:sldMkLst>
          <pc:docMk/>
          <pc:sldMk cId="2590114024" sldId="2147479444"/>
        </pc:sldMkLst>
      </pc:sldChg>
      <pc:sldChg chg="del">
        <pc:chgData name="Lisa Boyette" userId="24cc2e01-2130-4f78-ae8d-8253b197adea" providerId="ADAL" clId="{04D6EC11-0CE4-48F0-B750-BC7D95EBD056}" dt="2024-03-19T01:20:46.105" v="3477" actId="47"/>
        <pc:sldMkLst>
          <pc:docMk/>
          <pc:sldMk cId="2878015881" sldId="2147479445"/>
        </pc:sldMkLst>
      </pc:sldChg>
      <pc:sldChg chg="del">
        <pc:chgData name="Lisa Boyette" userId="24cc2e01-2130-4f78-ae8d-8253b197adea" providerId="ADAL" clId="{04D6EC11-0CE4-48F0-B750-BC7D95EBD056}" dt="2024-03-19T01:20:53.484" v="3478" actId="47"/>
        <pc:sldMkLst>
          <pc:docMk/>
          <pc:sldMk cId="2189537194" sldId="2147479449"/>
        </pc:sldMkLst>
      </pc:sldChg>
      <pc:sldChg chg="del">
        <pc:chgData name="Lisa Boyette" userId="24cc2e01-2130-4f78-ae8d-8253b197adea" providerId="ADAL" clId="{04D6EC11-0CE4-48F0-B750-BC7D95EBD056}" dt="2024-03-19T01:20:53.484" v="3478" actId="47"/>
        <pc:sldMkLst>
          <pc:docMk/>
          <pc:sldMk cId="3840481533" sldId="2147479450"/>
        </pc:sldMkLst>
      </pc:sldChg>
      <pc:sldChg chg="del">
        <pc:chgData name="Lisa Boyette" userId="24cc2e01-2130-4f78-ae8d-8253b197adea" providerId="ADAL" clId="{04D6EC11-0CE4-48F0-B750-BC7D95EBD056}" dt="2024-03-19T02:21:15.170" v="4550" actId="47"/>
        <pc:sldMkLst>
          <pc:docMk/>
          <pc:sldMk cId="844398837" sldId="2147479451"/>
        </pc:sldMkLst>
      </pc:sldChg>
      <pc:sldChg chg="add del">
        <pc:chgData name="Lisa Boyette" userId="24cc2e01-2130-4f78-ae8d-8253b197adea" providerId="ADAL" clId="{04D6EC11-0CE4-48F0-B750-BC7D95EBD056}" dt="2024-03-20T14:40:24.684" v="8625" actId="47"/>
        <pc:sldMkLst>
          <pc:docMk/>
          <pc:sldMk cId="1711478277" sldId="2147479452"/>
        </pc:sldMkLst>
      </pc:sldChg>
      <pc:sldChg chg="del">
        <pc:chgData name="Lisa Boyette" userId="24cc2e01-2130-4f78-ae8d-8253b197adea" providerId="ADAL" clId="{04D6EC11-0CE4-48F0-B750-BC7D95EBD056}" dt="2024-03-19T01:20:40.261" v="3475" actId="2696"/>
        <pc:sldMkLst>
          <pc:docMk/>
          <pc:sldMk cId="2916937962" sldId="2147479452"/>
        </pc:sldMkLst>
      </pc:sldChg>
      <pc:sldChg chg="add">
        <pc:chgData name="Lisa Boyette" userId="24cc2e01-2130-4f78-ae8d-8253b197adea" providerId="ADAL" clId="{04D6EC11-0CE4-48F0-B750-BC7D95EBD056}" dt="2024-03-19T01:20:42.527" v="3476"/>
        <pc:sldMkLst>
          <pc:docMk/>
          <pc:sldMk cId="1272362663" sldId="2147479453"/>
        </pc:sldMkLst>
      </pc:sldChg>
      <pc:sldChg chg="del">
        <pc:chgData name="Lisa Boyette" userId="24cc2e01-2130-4f78-ae8d-8253b197adea" providerId="ADAL" clId="{04D6EC11-0CE4-48F0-B750-BC7D95EBD056}" dt="2024-03-19T01:20:40.261" v="3475" actId="2696"/>
        <pc:sldMkLst>
          <pc:docMk/>
          <pc:sldMk cId="1830117754" sldId="2147479453"/>
        </pc:sldMkLst>
      </pc:sldChg>
      <pc:sldChg chg="add">
        <pc:chgData name="Lisa Boyette" userId="24cc2e01-2130-4f78-ae8d-8253b197adea" providerId="ADAL" clId="{04D6EC11-0CE4-48F0-B750-BC7D95EBD056}" dt="2024-03-19T01:20:42.527" v="3476"/>
        <pc:sldMkLst>
          <pc:docMk/>
          <pc:sldMk cId="460502222" sldId="2147479454"/>
        </pc:sldMkLst>
      </pc:sldChg>
      <pc:sldChg chg="del">
        <pc:chgData name="Lisa Boyette" userId="24cc2e01-2130-4f78-ae8d-8253b197adea" providerId="ADAL" clId="{04D6EC11-0CE4-48F0-B750-BC7D95EBD056}" dt="2024-03-19T01:20:40.261" v="3475" actId="2696"/>
        <pc:sldMkLst>
          <pc:docMk/>
          <pc:sldMk cId="4118769834" sldId="2147479454"/>
        </pc:sldMkLst>
      </pc:sldChg>
      <pc:sldChg chg="modSp del mod">
        <pc:chgData name="Lisa Boyette" userId="24cc2e01-2130-4f78-ae8d-8253b197adea" providerId="ADAL" clId="{04D6EC11-0CE4-48F0-B750-BC7D95EBD056}" dt="2024-03-20T14:33:46.907" v="8556" actId="47"/>
        <pc:sldMkLst>
          <pc:docMk/>
          <pc:sldMk cId="2137990208" sldId="2147479455"/>
        </pc:sldMkLst>
        <pc:graphicFrameChg chg="modGraphic">
          <ac:chgData name="Lisa Boyette" userId="24cc2e01-2130-4f78-ae8d-8253b197adea" providerId="ADAL" clId="{04D6EC11-0CE4-48F0-B750-BC7D95EBD056}" dt="2024-03-19T02:21:32.660" v="4554" actId="6549"/>
          <ac:graphicFrameMkLst>
            <pc:docMk/>
            <pc:sldMk cId="2137990208" sldId="2147479455"/>
            <ac:graphicFrameMk id="4" creationId="{BE38E089-BBF7-5339-EF73-F68B7686C21D}"/>
          </ac:graphicFrameMkLst>
        </pc:graphicFrameChg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298918221" sldId="2147479458"/>
        </pc:sldMkLst>
      </pc:sldChg>
      <pc:sldChg chg="add">
        <pc:chgData name="Lisa Boyette" userId="24cc2e01-2130-4f78-ae8d-8253b197adea" providerId="ADAL" clId="{04D6EC11-0CE4-48F0-B750-BC7D95EBD056}" dt="2024-03-19T01:19:43.081" v="3431"/>
        <pc:sldMkLst>
          <pc:docMk/>
          <pc:sldMk cId="3280797468" sldId="2147479458"/>
        </pc:sldMkLst>
      </pc:sldChg>
      <pc:sldChg chg="add">
        <pc:chgData name="Lisa Boyette" userId="24cc2e01-2130-4f78-ae8d-8253b197adea" providerId="ADAL" clId="{04D6EC11-0CE4-48F0-B750-BC7D95EBD056}" dt="2024-03-19T01:19:43.081" v="3431"/>
        <pc:sldMkLst>
          <pc:docMk/>
          <pc:sldMk cId="374093212" sldId="2147479459"/>
        </pc:sldMkLst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830353175" sldId="2147479459"/>
        </pc:sldMkLst>
      </pc:sldChg>
      <pc:sldChg chg="add">
        <pc:chgData name="Lisa Boyette" userId="24cc2e01-2130-4f78-ae8d-8253b197adea" providerId="ADAL" clId="{04D6EC11-0CE4-48F0-B750-BC7D95EBD056}" dt="2024-03-19T01:19:43.081" v="3431"/>
        <pc:sldMkLst>
          <pc:docMk/>
          <pc:sldMk cId="1231322948" sldId="2147479461"/>
        </pc:sldMkLst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3582793360" sldId="2147479461"/>
        </pc:sldMkLst>
      </pc:sldChg>
      <pc:sldChg chg="add del ord">
        <pc:chgData name="Lisa Boyette" userId="24cc2e01-2130-4f78-ae8d-8253b197adea" providerId="ADAL" clId="{04D6EC11-0CE4-48F0-B750-BC7D95EBD056}" dt="2024-03-19T02:20:52.060" v="4548" actId="2696"/>
        <pc:sldMkLst>
          <pc:docMk/>
          <pc:sldMk cId="870056831" sldId="2147479462"/>
        </pc:sldMkLst>
      </pc:sldChg>
      <pc:sldChg chg="add">
        <pc:chgData name="Lisa Boyette" userId="24cc2e01-2130-4f78-ae8d-8253b197adea" providerId="ADAL" clId="{04D6EC11-0CE4-48F0-B750-BC7D95EBD056}" dt="2024-03-19T02:21:02.190" v="4549"/>
        <pc:sldMkLst>
          <pc:docMk/>
          <pc:sldMk cId="3151860006" sldId="2147479462"/>
        </pc:sldMkLst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3248615219" sldId="2147479462"/>
        </pc:sldMkLst>
      </pc:sldChg>
      <pc:sldChg chg="addSp delSp modSp del modCm">
        <pc:chgData name="Lisa Boyette" userId="24cc2e01-2130-4f78-ae8d-8253b197adea" providerId="ADAL" clId="{04D6EC11-0CE4-48F0-B750-BC7D95EBD056}" dt="2024-03-19T02:07:12.132" v="4361" actId="47"/>
        <pc:sldMkLst>
          <pc:docMk/>
          <pc:sldMk cId="1786549294" sldId="2147479463"/>
        </pc:sldMkLst>
        <pc:spChg chg="del">
          <ac:chgData name="Lisa Boyette" userId="24cc2e01-2130-4f78-ae8d-8253b197adea" providerId="ADAL" clId="{04D6EC11-0CE4-48F0-B750-BC7D95EBD056}" dt="2024-03-19T02:07:08.370" v="4359" actId="478"/>
          <ac:spMkLst>
            <pc:docMk/>
            <pc:sldMk cId="1786549294" sldId="2147479463"/>
            <ac:spMk id="2" creationId="{5354029C-42F0-FEBB-4DA3-93088E7981AE}"/>
          </ac:spMkLst>
        </pc:spChg>
        <pc:spChg chg="add mod">
          <ac:chgData name="Lisa Boyette" userId="24cc2e01-2130-4f78-ae8d-8253b197adea" providerId="ADAL" clId="{04D6EC11-0CE4-48F0-B750-BC7D95EBD056}" dt="2024-03-19T02:07:08.370" v="4359" actId="478"/>
          <ac:spMkLst>
            <pc:docMk/>
            <pc:sldMk cId="1786549294" sldId="2147479463"/>
            <ac:spMk id="7" creationId="{85225DA5-689B-DD36-2C4C-37FB6D1CC88B}"/>
          </ac:spMkLst>
        </pc:spChg>
      </pc:sldChg>
      <pc:sldChg chg="del">
        <pc:chgData name="Lisa Boyette" userId="24cc2e01-2130-4f78-ae8d-8253b197adea" providerId="ADAL" clId="{04D6EC11-0CE4-48F0-B750-BC7D95EBD056}" dt="2024-03-19T01:32:43.590" v="3828" actId="47"/>
        <pc:sldMkLst>
          <pc:docMk/>
          <pc:sldMk cId="3362827502" sldId="2147479464"/>
        </pc:sldMkLst>
      </pc:sldChg>
      <pc:sldChg chg="del">
        <pc:chgData name="Lisa Boyette" userId="24cc2e01-2130-4f78-ae8d-8253b197adea" providerId="ADAL" clId="{04D6EC11-0CE4-48F0-B750-BC7D95EBD056}" dt="2024-03-19T03:15:45.271" v="7376" actId="2696"/>
        <pc:sldMkLst>
          <pc:docMk/>
          <pc:sldMk cId="283463880" sldId="2147479465"/>
        </pc:sldMkLst>
      </pc:sldChg>
      <pc:sldChg chg="add del">
        <pc:chgData name="Lisa Boyette" userId="24cc2e01-2130-4f78-ae8d-8253b197adea" providerId="ADAL" clId="{04D6EC11-0CE4-48F0-B750-BC7D95EBD056}" dt="2024-03-20T14:40:05.743" v="8624" actId="47"/>
        <pc:sldMkLst>
          <pc:docMk/>
          <pc:sldMk cId="4252674020" sldId="2147479465"/>
        </pc:sldMkLst>
      </pc:sldChg>
      <pc:sldChg chg="del">
        <pc:chgData name="Lisa Boyette" userId="24cc2e01-2130-4f78-ae8d-8253b197adea" providerId="ADAL" clId="{04D6EC11-0CE4-48F0-B750-BC7D95EBD056}" dt="2024-03-19T01:32:27.597" v="3827" actId="47"/>
        <pc:sldMkLst>
          <pc:docMk/>
          <pc:sldMk cId="1466887601" sldId="2147479466"/>
        </pc:sldMkLst>
      </pc:sldChg>
      <pc:sldChg chg="del">
        <pc:chgData name="Lisa Boyette" userId="24cc2e01-2130-4f78-ae8d-8253b197adea" providerId="ADAL" clId="{04D6EC11-0CE4-48F0-B750-BC7D95EBD056}" dt="2024-03-19T03:17:42.694" v="7428" actId="2696"/>
        <pc:sldMkLst>
          <pc:docMk/>
          <pc:sldMk cId="3557721676" sldId="2147479467"/>
        </pc:sldMkLst>
      </pc:sldChg>
      <pc:sldChg chg="addSp delSp modSp add mod ord modShow modCm">
        <pc:chgData name="Lisa Boyette" userId="24cc2e01-2130-4f78-ae8d-8253b197adea" providerId="ADAL" clId="{04D6EC11-0CE4-48F0-B750-BC7D95EBD056}" dt="2024-03-21T13:38:42.404" v="9595"/>
        <pc:sldMkLst>
          <pc:docMk/>
          <pc:sldMk cId="4270880167" sldId="2147479467"/>
        </pc:sldMkLst>
        <pc:spChg chg="mod">
          <ac:chgData name="Lisa Boyette" userId="24cc2e01-2130-4f78-ae8d-8253b197adea" providerId="ADAL" clId="{04D6EC11-0CE4-48F0-B750-BC7D95EBD056}" dt="2024-03-19T21:40:59.077" v="7874" actId="20577"/>
          <ac:spMkLst>
            <pc:docMk/>
            <pc:sldMk cId="4270880167" sldId="2147479467"/>
            <ac:spMk id="2" creationId="{5354029C-42F0-FEBB-4DA3-93088E7981AE}"/>
          </ac:spMkLst>
        </pc:spChg>
        <pc:spChg chg="mod">
          <ac:chgData name="Lisa Boyette" userId="24cc2e01-2130-4f78-ae8d-8253b197adea" providerId="ADAL" clId="{04D6EC11-0CE4-48F0-B750-BC7D95EBD056}" dt="2024-03-19T21:59:11.568" v="8276" actId="20577"/>
          <ac:spMkLst>
            <pc:docMk/>
            <pc:sldMk cId="4270880167" sldId="2147479467"/>
            <ac:spMk id="3" creationId="{C6145EF6-3760-64C2-0384-F9533F7A9648}"/>
          </ac:spMkLst>
        </pc:spChg>
        <pc:spChg chg="del mod">
          <ac:chgData name="Lisa Boyette" userId="24cc2e01-2130-4f78-ae8d-8253b197adea" providerId="ADAL" clId="{04D6EC11-0CE4-48F0-B750-BC7D95EBD056}" dt="2024-03-21T13:38:39.807" v="9593" actId="478"/>
          <ac:spMkLst>
            <pc:docMk/>
            <pc:sldMk cId="4270880167" sldId="2147479467"/>
            <ac:spMk id="5" creationId="{B7A0A442-BC92-C3E8-EF87-E3DD69F48CDD}"/>
          </ac:spMkLst>
        </pc:spChg>
        <pc:spChg chg="add mod">
          <ac:chgData name="Lisa Boyette" userId="24cc2e01-2130-4f78-ae8d-8253b197adea" providerId="ADAL" clId="{04D6EC11-0CE4-48F0-B750-BC7D95EBD056}" dt="2024-03-21T13:38:36.547" v="9592"/>
          <ac:spMkLst>
            <pc:docMk/>
            <pc:sldMk cId="4270880167" sldId="2147479467"/>
            <ac:spMk id="6" creationId="{8653F24D-647C-C674-8715-72C48AA2AA2D}"/>
          </ac:spMkLst>
        </pc:spChg>
      </pc:sldChg>
      <pc:sldChg chg="del">
        <pc:chgData name="Lisa Boyette" userId="24cc2e01-2130-4f78-ae8d-8253b197adea" providerId="ADAL" clId="{04D6EC11-0CE4-48F0-B750-BC7D95EBD056}" dt="2024-03-19T03:15:45.271" v="7376" actId="2696"/>
        <pc:sldMkLst>
          <pc:docMk/>
          <pc:sldMk cId="1462714232" sldId="2147479468"/>
        </pc:sldMkLst>
      </pc:sldChg>
      <pc:sldChg chg="add del">
        <pc:chgData name="Lisa Boyette" userId="24cc2e01-2130-4f78-ae8d-8253b197adea" providerId="ADAL" clId="{04D6EC11-0CE4-48F0-B750-BC7D95EBD056}" dt="2024-03-20T14:40:05.743" v="8624" actId="47"/>
        <pc:sldMkLst>
          <pc:docMk/>
          <pc:sldMk cId="3929220374" sldId="2147479468"/>
        </pc:sldMkLst>
      </pc:sldChg>
      <pc:sldChg chg="del">
        <pc:chgData name="Lisa Boyette" userId="24cc2e01-2130-4f78-ae8d-8253b197adea" providerId="ADAL" clId="{04D6EC11-0CE4-48F0-B750-BC7D95EBD056}" dt="2024-03-19T03:15:45.271" v="7376" actId="2696"/>
        <pc:sldMkLst>
          <pc:docMk/>
          <pc:sldMk cId="607717304" sldId="2147479469"/>
        </pc:sldMkLst>
      </pc:sldChg>
      <pc:sldChg chg="add del">
        <pc:chgData name="Lisa Boyette" userId="24cc2e01-2130-4f78-ae8d-8253b197adea" providerId="ADAL" clId="{04D6EC11-0CE4-48F0-B750-BC7D95EBD056}" dt="2024-03-20T14:40:05.743" v="8624" actId="47"/>
        <pc:sldMkLst>
          <pc:docMk/>
          <pc:sldMk cId="663467596" sldId="2147479469"/>
        </pc:sldMkLst>
      </pc:sldChg>
      <pc:sldChg chg="modSp del mod">
        <pc:chgData name="Lisa Boyette" userId="24cc2e01-2130-4f78-ae8d-8253b197adea" providerId="ADAL" clId="{04D6EC11-0CE4-48F0-B750-BC7D95EBD056}" dt="2024-03-18T16:49:50.551" v="351" actId="47"/>
        <pc:sldMkLst>
          <pc:docMk/>
          <pc:sldMk cId="1588382006" sldId="2147479470"/>
        </pc:sldMkLst>
        <pc:spChg chg="mod">
          <ac:chgData name="Lisa Boyette" userId="24cc2e01-2130-4f78-ae8d-8253b197adea" providerId="ADAL" clId="{04D6EC11-0CE4-48F0-B750-BC7D95EBD056}" dt="2024-03-18T16:48:45.200" v="324" actId="20577"/>
          <ac:spMkLst>
            <pc:docMk/>
            <pc:sldMk cId="1588382006" sldId="2147479470"/>
            <ac:spMk id="2" creationId="{00000000-0000-0000-0000-000000000000}"/>
          </ac:spMkLst>
        </pc:spChg>
      </pc:sldChg>
      <pc:sldChg chg="add">
        <pc:chgData name="Lisa Boyette" userId="24cc2e01-2130-4f78-ae8d-8253b197adea" providerId="ADAL" clId="{04D6EC11-0CE4-48F0-B750-BC7D95EBD056}" dt="2024-03-19T01:19:43.081" v="3431"/>
        <pc:sldMkLst>
          <pc:docMk/>
          <pc:sldMk cId="1504386407" sldId="2147479472"/>
        </pc:sldMkLst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2951199926" sldId="2147479472"/>
        </pc:sldMkLst>
      </pc:sldChg>
      <pc:sldChg chg="modSp add del mod">
        <pc:chgData name="Lisa Boyette" userId="24cc2e01-2130-4f78-ae8d-8253b197adea" providerId="ADAL" clId="{04D6EC11-0CE4-48F0-B750-BC7D95EBD056}" dt="2024-03-20T19:23:07.527" v="9094" actId="2696"/>
        <pc:sldMkLst>
          <pc:docMk/>
          <pc:sldMk cId="1076208242" sldId="2147479473"/>
        </pc:sldMkLst>
        <pc:spChg chg="mod">
          <ac:chgData name="Lisa Boyette" userId="24cc2e01-2130-4f78-ae8d-8253b197adea" providerId="ADAL" clId="{04D6EC11-0CE4-48F0-B750-BC7D95EBD056}" dt="2024-03-20T19:19:40.762" v="9090" actId="1035"/>
          <ac:spMkLst>
            <pc:docMk/>
            <pc:sldMk cId="1076208242" sldId="2147479473"/>
            <ac:spMk id="13" creationId="{8E60B4A9-68A2-4738-AF66-60BB8D70B4DB}"/>
          </ac:spMkLst>
        </pc:spChg>
      </pc:sldChg>
      <pc:sldChg chg="addSp modSp add mod">
        <pc:chgData name="Lisa Boyette" userId="24cc2e01-2130-4f78-ae8d-8253b197adea" providerId="ADAL" clId="{04D6EC11-0CE4-48F0-B750-BC7D95EBD056}" dt="2024-03-21T13:40:37.884" v="9633" actId="1076"/>
        <pc:sldMkLst>
          <pc:docMk/>
          <pc:sldMk cId="2923371731" sldId="2147479473"/>
        </pc:sldMkLst>
        <pc:spChg chg="add mod">
          <ac:chgData name="Lisa Boyette" userId="24cc2e01-2130-4f78-ae8d-8253b197adea" providerId="ADAL" clId="{04D6EC11-0CE4-48F0-B750-BC7D95EBD056}" dt="2024-03-21T13:40:37.884" v="9633" actId="1076"/>
          <ac:spMkLst>
            <pc:docMk/>
            <pc:sldMk cId="2923371731" sldId="2147479473"/>
            <ac:spMk id="4" creationId="{E9D42822-9BE0-7DB1-3D9E-7531F9FF8EB5}"/>
          </ac:spMkLst>
        </pc:spChg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3646003128" sldId="2147479473"/>
        </pc:sldMkLst>
      </pc:sldChg>
      <pc:sldChg chg="add">
        <pc:chgData name="Lisa Boyette" userId="24cc2e01-2130-4f78-ae8d-8253b197adea" providerId="ADAL" clId="{04D6EC11-0CE4-48F0-B750-BC7D95EBD056}" dt="2024-03-19T01:19:43.081" v="3431"/>
        <pc:sldMkLst>
          <pc:docMk/>
          <pc:sldMk cId="572539407" sldId="2147479474"/>
        </pc:sldMkLst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3723446433" sldId="2147479474"/>
        </pc:sldMkLst>
      </pc:sldChg>
      <pc:sldChg chg="add">
        <pc:chgData name="Lisa Boyette" userId="24cc2e01-2130-4f78-ae8d-8253b197adea" providerId="ADAL" clId="{04D6EC11-0CE4-48F0-B750-BC7D95EBD056}" dt="2024-03-19T01:19:43.081" v="3431"/>
        <pc:sldMkLst>
          <pc:docMk/>
          <pc:sldMk cId="188725729" sldId="2147479475"/>
        </pc:sldMkLst>
      </pc:sldChg>
      <pc:sldChg chg="del">
        <pc:chgData name="Lisa Boyette" userId="24cc2e01-2130-4f78-ae8d-8253b197adea" providerId="ADAL" clId="{04D6EC11-0CE4-48F0-B750-BC7D95EBD056}" dt="2024-03-19T01:19:18.756" v="3430" actId="2696"/>
        <pc:sldMkLst>
          <pc:docMk/>
          <pc:sldMk cId="3306154873" sldId="2147479475"/>
        </pc:sldMkLst>
      </pc:sldChg>
      <pc:sldChg chg="modSp mod addCm delCm">
        <pc:chgData name="Lisa Boyette" userId="24cc2e01-2130-4f78-ae8d-8253b197adea" providerId="ADAL" clId="{04D6EC11-0CE4-48F0-B750-BC7D95EBD056}" dt="2024-03-19T02:22:17.048" v="4555"/>
        <pc:sldMkLst>
          <pc:docMk/>
          <pc:sldMk cId="3126710675" sldId="2147479476"/>
        </pc:sldMkLst>
        <pc:graphicFrameChg chg="modGraphic">
          <ac:chgData name="Lisa Boyette" userId="24cc2e01-2130-4f78-ae8d-8253b197adea" providerId="ADAL" clId="{04D6EC11-0CE4-48F0-B750-BC7D95EBD056}" dt="2024-03-19T02:20:06.417" v="4536" actId="20577"/>
          <ac:graphicFrameMkLst>
            <pc:docMk/>
            <pc:sldMk cId="3126710675" sldId="2147479476"/>
            <ac:graphicFrameMk id="4" creationId="{A4E42C46-3083-19E3-D111-210F42CA16BC}"/>
          </ac:graphicFrameMkLst>
        </pc:graphicFrameChg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534043379" sldId="2147479477"/>
        </pc:sldMkLst>
      </pc:sldChg>
      <pc:sldChg chg="modSp add del mod modCm">
        <pc:chgData name="Lisa Boyette" userId="24cc2e01-2130-4f78-ae8d-8253b197adea" providerId="ADAL" clId="{04D6EC11-0CE4-48F0-B750-BC7D95EBD056}" dt="2024-03-19T02:20:52.060" v="4548" actId="2696"/>
        <pc:sldMkLst>
          <pc:docMk/>
          <pc:sldMk cId="843403101" sldId="2147479477"/>
        </pc:sldMkLst>
        <pc:spChg chg="mod">
          <ac:chgData name="Lisa Boyette" userId="24cc2e01-2130-4f78-ae8d-8253b197adea" providerId="ADAL" clId="{04D6EC11-0CE4-48F0-B750-BC7D95EBD056}" dt="2024-03-18T16:48:53.226" v="349" actId="20577"/>
          <ac:spMkLst>
            <pc:docMk/>
            <pc:sldMk cId="843403101" sldId="2147479477"/>
            <ac:spMk id="2" creationId="{00000000-0000-0000-0000-000000000000}"/>
          </ac:spMkLst>
        </pc:spChg>
        <pc:spChg chg="mod">
          <ac:chgData name="Lisa Boyette" userId="24cc2e01-2130-4f78-ae8d-8253b197adea" providerId="ADAL" clId="{04D6EC11-0CE4-48F0-B750-BC7D95EBD056}" dt="2024-03-18T17:04:38.875" v="508" actId="1076"/>
          <ac:spMkLst>
            <pc:docMk/>
            <pc:sldMk cId="843403101" sldId="2147479477"/>
            <ac:spMk id="4" creationId="{2402B536-6F4B-0BC0-5718-266C9D08A38C}"/>
          </ac:spMkLst>
        </pc:spChg>
        <pc:graphicFrameChg chg="mod modGraphic">
          <ac:chgData name="Lisa Boyette" userId="24cc2e01-2130-4f78-ae8d-8253b197adea" providerId="ADAL" clId="{04D6EC11-0CE4-48F0-B750-BC7D95EBD056}" dt="2024-03-18T17:06:11.878" v="509" actId="20577"/>
          <ac:graphicFrameMkLst>
            <pc:docMk/>
            <pc:sldMk cId="843403101" sldId="2147479477"/>
            <ac:graphicFrameMk id="3" creationId="{1BB599FD-6071-5C0B-0CCF-0A8634E74972}"/>
          </ac:graphicFrameMkLst>
        </pc:graphicFrameChg>
      </pc:sldChg>
      <pc:sldChg chg="modSp add mod addCm modCm">
        <pc:chgData name="Lisa Boyette" userId="24cc2e01-2130-4f78-ae8d-8253b197adea" providerId="ADAL" clId="{04D6EC11-0CE4-48F0-B750-BC7D95EBD056}" dt="2024-03-20T20:23:48.973" v="9111" actId="20577"/>
        <pc:sldMkLst>
          <pc:docMk/>
          <pc:sldMk cId="3163595313" sldId="2147479477"/>
        </pc:sldMkLst>
        <pc:graphicFrameChg chg="mod modGraphic">
          <ac:chgData name="Lisa Boyette" userId="24cc2e01-2130-4f78-ae8d-8253b197adea" providerId="ADAL" clId="{04D6EC11-0CE4-48F0-B750-BC7D95EBD056}" dt="2024-03-20T20:23:48.973" v="9111" actId="20577"/>
          <ac:graphicFrameMkLst>
            <pc:docMk/>
            <pc:sldMk cId="3163595313" sldId="2147479477"/>
            <ac:graphicFrameMk id="3" creationId="{1BB599FD-6071-5C0B-0CCF-0A8634E74972}"/>
          </ac:graphicFrameMkLst>
        </pc:graphicFrameChg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10141293" sldId="2147479478"/>
        </pc:sldMkLst>
      </pc:sldChg>
      <pc:sldChg chg="modSp add del mod delCm modCm">
        <pc:chgData name="Lisa Boyette" userId="24cc2e01-2130-4f78-ae8d-8253b197adea" providerId="ADAL" clId="{04D6EC11-0CE4-48F0-B750-BC7D95EBD056}" dt="2024-03-19T02:20:52.060" v="4548" actId="2696"/>
        <pc:sldMkLst>
          <pc:docMk/>
          <pc:sldMk cId="1622696466" sldId="2147479478"/>
        </pc:sldMkLst>
        <pc:spChg chg="mod">
          <ac:chgData name="Lisa Boyette" userId="24cc2e01-2130-4f78-ae8d-8253b197adea" providerId="ADAL" clId="{04D6EC11-0CE4-48F0-B750-BC7D95EBD056}" dt="2024-03-18T16:51:18.088" v="353" actId="1076"/>
          <ac:spMkLst>
            <pc:docMk/>
            <pc:sldMk cId="1622696466" sldId="2147479478"/>
            <ac:spMk id="4" creationId="{2402B536-6F4B-0BC0-5718-266C9D08A38C}"/>
          </ac:spMkLst>
        </pc:spChg>
        <pc:graphicFrameChg chg="mod modGraphic">
          <ac:chgData name="Lisa Boyette" userId="24cc2e01-2130-4f78-ae8d-8253b197adea" providerId="ADAL" clId="{04D6EC11-0CE4-48F0-B750-BC7D95EBD056}" dt="2024-03-18T17:12:39.770" v="510" actId="20577"/>
          <ac:graphicFrameMkLst>
            <pc:docMk/>
            <pc:sldMk cId="1622696466" sldId="2147479478"/>
            <ac:graphicFrameMk id="3" creationId="{1BB599FD-6071-5C0B-0CCF-0A8634E74972}"/>
          </ac:graphicFrameMkLst>
        </pc:graphicFrameChg>
      </pc:sldChg>
      <pc:sldChg chg="add">
        <pc:chgData name="Lisa Boyette" userId="24cc2e01-2130-4f78-ae8d-8253b197adea" providerId="ADAL" clId="{04D6EC11-0CE4-48F0-B750-BC7D95EBD056}" dt="2024-03-19T02:21:02.190" v="4549"/>
        <pc:sldMkLst>
          <pc:docMk/>
          <pc:sldMk cId="2761666500" sldId="2147479478"/>
        </pc:sldMkLst>
      </pc:sldChg>
      <pc:sldChg chg="addSp delSp modSp add del mod modNotesTx">
        <pc:chgData name="Lisa Boyette" userId="24cc2e01-2130-4f78-ae8d-8253b197adea" providerId="ADAL" clId="{04D6EC11-0CE4-48F0-B750-BC7D95EBD056}" dt="2024-03-19T01:32:16.743" v="3826" actId="2696"/>
        <pc:sldMkLst>
          <pc:docMk/>
          <pc:sldMk cId="878360860" sldId="2147479480"/>
        </pc:sldMkLst>
        <pc:spChg chg="mod">
          <ac:chgData name="Lisa Boyette" userId="24cc2e01-2130-4f78-ae8d-8253b197adea" providerId="ADAL" clId="{04D6EC11-0CE4-48F0-B750-BC7D95EBD056}" dt="2024-03-19T01:27:31.355" v="3495" actId="20577"/>
          <ac:spMkLst>
            <pc:docMk/>
            <pc:sldMk cId="878360860" sldId="2147479480"/>
            <ac:spMk id="2" creationId="{016F2E9B-B2D2-418E-AAE5-923914D682FE}"/>
          </ac:spMkLst>
        </pc:spChg>
        <pc:spChg chg="mod">
          <ac:chgData name="Lisa Boyette" userId="24cc2e01-2130-4f78-ae8d-8253b197adea" providerId="ADAL" clId="{04D6EC11-0CE4-48F0-B750-BC7D95EBD056}" dt="2024-03-19T01:28:26.864" v="3587" actId="164"/>
          <ac:spMkLst>
            <pc:docMk/>
            <pc:sldMk cId="878360860" sldId="2147479480"/>
            <ac:spMk id="14" creationId="{A953A421-74D2-457A-B39A-9CAD1DE7BB24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16" creationId="{883EDD31-C47F-4287-B64E-2AFBF6A67521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23" creationId="{3019BE52-C95B-4549-9ECC-D11F4430A930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24" creationId="{0845C46C-470E-42B5-B9ED-D5A971C24AE7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25" creationId="{05668B2D-4CD6-4468-9E2E-FCA9C62C0A7F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30" creationId="{9534857F-C189-4315-9BCC-E337903A120C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31" creationId="{C18CA6BC-2476-43DB-BED2-67960A763798}"/>
          </ac:spMkLst>
        </pc:spChg>
        <pc:spChg chg="mod">
          <ac:chgData name="Lisa Boyette" userId="24cc2e01-2130-4f78-ae8d-8253b197adea" providerId="ADAL" clId="{04D6EC11-0CE4-48F0-B750-BC7D95EBD056}" dt="2024-03-18T19:15:27.788" v="588" actId="1036"/>
          <ac:spMkLst>
            <pc:docMk/>
            <pc:sldMk cId="878360860" sldId="2147479480"/>
            <ac:spMk id="32" creationId="{36B39F7A-C195-4A1D-8F05-4C31F06C9D6B}"/>
          </ac:spMkLst>
        </pc:spChg>
        <pc:spChg chg="mod">
          <ac:chgData name="Lisa Boyette" userId="24cc2e01-2130-4f78-ae8d-8253b197adea" providerId="ADAL" clId="{04D6EC11-0CE4-48F0-B750-BC7D95EBD056}" dt="2024-03-19T01:29:14.989" v="3601" actId="20577"/>
          <ac:spMkLst>
            <pc:docMk/>
            <pc:sldMk cId="878360860" sldId="2147479480"/>
            <ac:spMk id="35" creationId="{5EC7DD41-A808-4F99-AB86-9CB9CB106C8F}"/>
          </ac:spMkLst>
        </pc:spChg>
        <pc:spChg chg="mod">
          <ac:chgData name="Lisa Boyette" userId="24cc2e01-2130-4f78-ae8d-8253b197adea" providerId="ADAL" clId="{04D6EC11-0CE4-48F0-B750-BC7D95EBD056}" dt="2024-03-19T01:29:18.410" v="3604" actId="20577"/>
          <ac:spMkLst>
            <pc:docMk/>
            <pc:sldMk cId="878360860" sldId="2147479480"/>
            <ac:spMk id="36" creationId="{DDDDE418-EA1D-4510-81C3-BE4744B14063}"/>
          </ac:spMkLst>
        </pc:spChg>
        <pc:spChg chg="del">
          <ac:chgData name="Lisa Boyette" userId="24cc2e01-2130-4f78-ae8d-8253b197adea" providerId="ADAL" clId="{04D6EC11-0CE4-48F0-B750-BC7D95EBD056}" dt="2024-03-18T19:18:44.807" v="589" actId="478"/>
          <ac:spMkLst>
            <pc:docMk/>
            <pc:sldMk cId="878360860" sldId="2147479480"/>
            <ac:spMk id="37" creationId="{CBE95A25-3DA0-4A98-949B-14383EBEA772}"/>
          </ac:spMkLst>
        </pc:spChg>
        <pc:spChg chg="del">
          <ac:chgData name="Lisa Boyette" userId="24cc2e01-2130-4f78-ae8d-8253b197adea" providerId="ADAL" clId="{04D6EC11-0CE4-48F0-B750-BC7D95EBD056}" dt="2024-03-18T19:18:44.807" v="589" actId="478"/>
          <ac:spMkLst>
            <pc:docMk/>
            <pc:sldMk cId="878360860" sldId="2147479480"/>
            <ac:spMk id="38" creationId="{42A290DA-204D-48A7-8907-5B9C510504F7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39" creationId="{DF41CEDD-5CD1-4F4F-965A-615D7DF11518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40" creationId="{1761F467-29FB-46B3-9D7F-AEF31C3E6FCE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41" creationId="{E08574AF-7A49-421F-B4A4-C354FACBF70A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42" creationId="{64F53751-3DE9-47F5-8A25-6912F8D88A33}"/>
          </ac:spMkLst>
        </pc:spChg>
        <pc:spChg chg="mod">
          <ac:chgData name="Lisa Boyette" userId="24cc2e01-2130-4f78-ae8d-8253b197adea" providerId="ADAL" clId="{04D6EC11-0CE4-48F0-B750-BC7D95EBD056}" dt="2024-03-19T01:30:40.124" v="3673" actId="164"/>
          <ac:spMkLst>
            <pc:docMk/>
            <pc:sldMk cId="878360860" sldId="2147479480"/>
            <ac:spMk id="43" creationId="{DB32AC6C-D179-4D75-BC84-0BF22BF803F4}"/>
          </ac:spMkLst>
        </pc:spChg>
        <pc:spChg chg="del">
          <ac:chgData name="Lisa Boyette" userId="24cc2e01-2130-4f78-ae8d-8253b197adea" providerId="ADAL" clId="{04D6EC11-0CE4-48F0-B750-BC7D95EBD056}" dt="2024-03-18T19:14:59.836" v="532" actId="478"/>
          <ac:spMkLst>
            <pc:docMk/>
            <pc:sldMk cId="878360860" sldId="2147479480"/>
            <ac:spMk id="44" creationId="{680578A2-1D04-49F7-A348-A9B0D8E4498D}"/>
          </ac:spMkLst>
        </pc:spChg>
        <pc:spChg chg="del">
          <ac:chgData name="Lisa Boyette" userId="24cc2e01-2130-4f78-ae8d-8253b197adea" providerId="ADAL" clId="{04D6EC11-0CE4-48F0-B750-BC7D95EBD056}" dt="2024-03-18T19:15:03.139" v="533" actId="478"/>
          <ac:spMkLst>
            <pc:docMk/>
            <pc:sldMk cId="878360860" sldId="2147479480"/>
            <ac:spMk id="45" creationId="{4D86CBE7-C76D-4233-B520-55313277CB63}"/>
          </ac:spMkLst>
        </pc:spChg>
        <pc:spChg chg="mod">
          <ac:chgData name="Lisa Boyette" userId="24cc2e01-2130-4f78-ae8d-8253b197adea" providerId="ADAL" clId="{04D6EC11-0CE4-48F0-B750-BC7D95EBD056}" dt="2024-03-18T19:19:05.986" v="594" actId="164"/>
          <ac:spMkLst>
            <pc:docMk/>
            <pc:sldMk cId="878360860" sldId="2147479480"/>
            <ac:spMk id="48" creationId="{B0C86213-B5B0-4C93-951F-81B83D2F60B9}"/>
          </ac:spMkLst>
        </pc:spChg>
        <pc:spChg chg="mod">
          <ac:chgData name="Lisa Boyette" userId="24cc2e01-2130-4f78-ae8d-8253b197adea" providerId="ADAL" clId="{04D6EC11-0CE4-48F0-B750-BC7D95EBD056}" dt="2024-03-19T01:28:26.864" v="3587" actId="164"/>
          <ac:spMkLst>
            <pc:docMk/>
            <pc:sldMk cId="878360860" sldId="2147479480"/>
            <ac:spMk id="49" creationId="{8CE7089B-12A1-409A-B366-DF4F50836105}"/>
          </ac:spMkLst>
        </pc:spChg>
        <pc:spChg chg="mod">
          <ac:chgData name="Lisa Boyette" userId="24cc2e01-2130-4f78-ae8d-8253b197adea" providerId="ADAL" clId="{04D6EC11-0CE4-48F0-B750-BC7D95EBD056}" dt="2024-03-19T01:29:46.757" v="3619" actId="20577"/>
          <ac:spMkLst>
            <pc:docMk/>
            <pc:sldMk cId="878360860" sldId="2147479480"/>
            <ac:spMk id="50" creationId="{0ACD347F-84E1-4612-B528-4F13B4D77FF3}"/>
          </ac:spMkLst>
        </pc:spChg>
        <pc:grpChg chg="add mod">
          <ac:chgData name="Lisa Boyette" userId="24cc2e01-2130-4f78-ae8d-8253b197adea" providerId="ADAL" clId="{04D6EC11-0CE4-48F0-B750-BC7D95EBD056}" dt="2024-03-19T01:30:51.164" v="3714" actId="1038"/>
          <ac:grpSpMkLst>
            <pc:docMk/>
            <pc:sldMk cId="878360860" sldId="2147479480"/>
            <ac:grpSpMk id="3" creationId="{D3275D59-4ADE-7ABF-7FD8-719E2DCE3566}"/>
          </ac:grpSpMkLst>
        </pc:grpChg>
        <pc:grpChg chg="add mod">
          <ac:chgData name="Lisa Boyette" userId="24cc2e01-2130-4f78-ae8d-8253b197adea" providerId="ADAL" clId="{04D6EC11-0CE4-48F0-B750-BC7D95EBD056}" dt="2024-03-19T01:31:01.295" v="3720" actId="1036"/>
          <ac:grpSpMkLst>
            <pc:docMk/>
            <pc:sldMk cId="878360860" sldId="2147479480"/>
            <ac:grpSpMk id="5" creationId="{46830DB6-D408-981B-2ED1-84CA82211DDC}"/>
          </ac:grpSpMkLst>
        </pc:grpChg>
        <pc:grpChg chg="add mod">
          <ac:chgData name="Lisa Boyette" userId="24cc2e01-2130-4f78-ae8d-8253b197adea" providerId="ADAL" clId="{04D6EC11-0CE4-48F0-B750-BC7D95EBD056}" dt="2024-03-19T01:30:44.559" v="3704" actId="1035"/>
          <ac:grpSpMkLst>
            <pc:docMk/>
            <pc:sldMk cId="878360860" sldId="2147479480"/>
            <ac:grpSpMk id="6" creationId="{BEFBE8E9-38B6-9471-B57B-AD3ECF2B9E5A}"/>
          </ac:grpSpMkLst>
        </pc:grpChg>
        <pc:cxnChg chg="del">
          <ac:chgData name="Lisa Boyette" userId="24cc2e01-2130-4f78-ae8d-8253b197adea" providerId="ADAL" clId="{04D6EC11-0CE4-48F0-B750-BC7D95EBD056}" dt="2024-03-18T19:15:05.193" v="534" actId="478"/>
          <ac:cxnSpMkLst>
            <pc:docMk/>
            <pc:sldMk cId="878360860" sldId="2147479480"/>
            <ac:cxnSpMk id="10" creationId="{CD4B76E3-2AA6-42AA-8A7B-01D6090489BB}"/>
          </ac:cxnSpMkLst>
        </pc:cxnChg>
        <pc:cxnChg chg="mod">
          <ac:chgData name="Lisa Boyette" userId="24cc2e01-2130-4f78-ae8d-8253b197adea" providerId="ADAL" clId="{04D6EC11-0CE4-48F0-B750-BC7D95EBD056}" dt="2024-03-19T01:30:40.124" v="3673" actId="164"/>
          <ac:cxnSpMkLst>
            <pc:docMk/>
            <pc:sldMk cId="878360860" sldId="2147479480"/>
            <ac:cxnSpMk id="18" creationId="{BCDEE155-A36B-4A84-B90C-6DE694840229}"/>
          </ac:cxnSpMkLst>
        </pc:cxnChg>
        <pc:cxnChg chg="mod">
          <ac:chgData name="Lisa Boyette" userId="24cc2e01-2130-4f78-ae8d-8253b197adea" providerId="ADAL" clId="{04D6EC11-0CE4-48F0-B750-BC7D95EBD056}" dt="2024-03-19T01:30:40.124" v="3673" actId="164"/>
          <ac:cxnSpMkLst>
            <pc:docMk/>
            <pc:sldMk cId="878360860" sldId="2147479480"/>
            <ac:cxnSpMk id="29" creationId="{E90C4CF5-E1C1-473B-A16C-9BFD0C2404FD}"/>
          </ac:cxnSpMkLst>
        </pc:cxnChg>
      </pc:sldChg>
      <pc:sldChg chg="addSp delSp modSp add del mod modCm">
        <pc:chgData name="Lisa Boyette" userId="24cc2e01-2130-4f78-ae8d-8253b197adea" providerId="ADAL" clId="{04D6EC11-0CE4-48F0-B750-BC7D95EBD056}" dt="2024-03-20T14:33:36.882" v="8552" actId="47"/>
        <pc:sldMkLst>
          <pc:docMk/>
          <pc:sldMk cId="3573287230" sldId="2147479480"/>
        </pc:sldMkLst>
        <pc:spChg chg="mod">
          <ac:chgData name="Lisa Boyette" userId="24cc2e01-2130-4f78-ae8d-8253b197adea" providerId="ADAL" clId="{04D6EC11-0CE4-48F0-B750-BC7D95EBD056}" dt="2024-03-19T01:40:19.970" v="3955" actId="20577"/>
          <ac:spMkLst>
            <pc:docMk/>
            <pc:sldMk cId="3573287230" sldId="2147479480"/>
            <ac:spMk id="2" creationId="{016F2E9B-B2D2-418E-AAE5-923914D682FE}"/>
          </ac:spMkLst>
        </pc:spChg>
        <pc:spChg chg="mod">
          <ac:chgData name="Lisa Boyette" userId="24cc2e01-2130-4f78-ae8d-8253b197adea" providerId="ADAL" clId="{04D6EC11-0CE4-48F0-B750-BC7D95EBD056}" dt="2024-03-19T01:33:51.857" v="3832" actId="164"/>
          <ac:spMkLst>
            <pc:docMk/>
            <pc:sldMk cId="3573287230" sldId="2147479480"/>
            <ac:spMk id="7" creationId="{412F9531-AB5E-4FAC-B815-5FE0651CB6B3}"/>
          </ac:spMkLst>
        </pc:spChg>
        <pc:spChg chg="mod">
          <ac:chgData name="Lisa Boyette" userId="24cc2e01-2130-4f78-ae8d-8253b197adea" providerId="ADAL" clId="{04D6EC11-0CE4-48F0-B750-BC7D95EBD056}" dt="2024-03-19T01:33:51.857" v="3832" actId="164"/>
          <ac:spMkLst>
            <pc:docMk/>
            <pc:sldMk cId="3573287230" sldId="2147479480"/>
            <ac:spMk id="8" creationId="{F30E0C57-F110-4F26-B8FF-B5214376BFCD}"/>
          </ac:spMkLst>
        </pc:spChg>
        <pc:spChg chg="mod">
          <ac:chgData name="Lisa Boyette" userId="24cc2e01-2130-4f78-ae8d-8253b197adea" providerId="ADAL" clId="{04D6EC11-0CE4-48F0-B750-BC7D95EBD056}" dt="2024-03-19T01:33:51.857" v="3832" actId="164"/>
          <ac:spMkLst>
            <pc:docMk/>
            <pc:sldMk cId="3573287230" sldId="2147479480"/>
            <ac:spMk id="9" creationId="{B6C4BF8F-A631-4711-A110-24A21FC23158}"/>
          </ac:spMkLst>
        </pc:spChg>
        <pc:spChg chg="mod">
          <ac:chgData name="Lisa Boyette" userId="24cc2e01-2130-4f78-ae8d-8253b197adea" providerId="ADAL" clId="{04D6EC11-0CE4-48F0-B750-BC7D95EBD056}" dt="2024-03-19T01:33:51.857" v="3832" actId="164"/>
          <ac:spMkLst>
            <pc:docMk/>
            <pc:sldMk cId="3573287230" sldId="2147479480"/>
            <ac:spMk id="11" creationId="{8165F636-24D5-477E-85A7-080F8A7666E1}"/>
          </ac:spMkLst>
        </pc:spChg>
        <pc:spChg chg="mod">
          <ac:chgData name="Lisa Boyette" userId="24cc2e01-2130-4f78-ae8d-8253b197adea" providerId="ADAL" clId="{04D6EC11-0CE4-48F0-B750-BC7D95EBD056}" dt="2024-03-19T01:33:51.857" v="3832" actId="164"/>
          <ac:spMkLst>
            <pc:docMk/>
            <pc:sldMk cId="3573287230" sldId="2147479480"/>
            <ac:spMk id="12" creationId="{D355B620-3074-48F6-87EB-713945D7254F}"/>
          </ac:spMkLst>
        </pc:spChg>
        <pc:spChg chg="mod">
          <ac:chgData name="Lisa Boyette" userId="24cc2e01-2130-4f78-ae8d-8253b197adea" providerId="ADAL" clId="{04D6EC11-0CE4-48F0-B750-BC7D95EBD056}" dt="2024-03-19T01:40:01.528" v="3953"/>
          <ac:spMkLst>
            <pc:docMk/>
            <pc:sldMk cId="3573287230" sldId="2147479480"/>
            <ac:spMk id="15" creationId="{F4210FDE-2B55-EF02-8B7F-6A96FD5A1EAA}"/>
          </ac:spMkLst>
        </pc:spChg>
        <pc:spChg chg="mod">
          <ac:chgData name="Lisa Boyette" userId="24cc2e01-2130-4f78-ae8d-8253b197adea" providerId="ADAL" clId="{04D6EC11-0CE4-48F0-B750-BC7D95EBD056}" dt="2024-03-19T01:40:01.528" v="3953"/>
          <ac:spMkLst>
            <pc:docMk/>
            <pc:sldMk cId="3573287230" sldId="2147479480"/>
            <ac:spMk id="17" creationId="{9F1C4A27-0C0A-2B97-BA3E-D0EC68547CBA}"/>
          </ac:spMkLst>
        </pc:spChg>
        <pc:spChg chg="mod">
          <ac:chgData name="Lisa Boyette" userId="24cc2e01-2130-4f78-ae8d-8253b197adea" providerId="ADAL" clId="{04D6EC11-0CE4-48F0-B750-BC7D95EBD056}" dt="2024-03-19T01:40:01.528" v="3953"/>
          <ac:spMkLst>
            <pc:docMk/>
            <pc:sldMk cId="3573287230" sldId="2147479480"/>
            <ac:spMk id="19" creationId="{AD83049A-30D8-7941-CD5D-4A4F0182F12D}"/>
          </ac:spMkLst>
        </pc:spChg>
        <pc:spChg chg="mod">
          <ac:chgData name="Lisa Boyette" userId="24cc2e01-2130-4f78-ae8d-8253b197adea" providerId="ADAL" clId="{04D6EC11-0CE4-48F0-B750-BC7D95EBD056}" dt="2024-03-19T01:33:51.857" v="3832" actId="164"/>
          <ac:spMkLst>
            <pc:docMk/>
            <pc:sldMk cId="3573287230" sldId="2147479480"/>
            <ac:spMk id="20" creationId="{BDE50818-5B19-409C-A107-75A2BB768946}"/>
          </ac:spMkLst>
        </pc:spChg>
        <pc:spChg chg="mod">
          <ac:chgData name="Lisa Boyette" userId="24cc2e01-2130-4f78-ae8d-8253b197adea" providerId="ADAL" clId="{04D6EC11-0CE4-48F0-B750-BC7D95EBD056}" dt="2024-03-19T01:34:41.820" v="3949" actId="1037"/>
          <ac:spMkLst>
            <pc:docMk/>
            <pc:sldMk cId="3573287230" sldId="2147479480"/>
            <ac:spMk id="21" creationId="{9B95DB70-ECF4-41FB-9883-E830A3472C44}"/>
          </ac:spMkLst>
        </pc:spChg>
        <pc:spChg chg="mod">
          <ac:chgData name="Lisa Boyette" userId="24cc2e01-2130-4f78-ae8d-8253b197adea" providerId="ADAL" clId="{04D6EC11-0CE4-48F0-B750-BC7D95EBD056}" dt="2024-03-19T01:33:51.857" v="3832" actId="164"/>
          <ac:spMkLst>
            <pc:docMk/>
            <pc:sldMk cId="3573287230" sldId="2147479480"/>
            <ac:spMk id="22" creationId="{6FD33256-6D7B-4FD5-9483-3533B1544DA0}"/>
          </ac:spMkLst>
        </pc:spChg>
        <pc:spChg chg="mod">
          <ac:chgData name="Lisa Boyette" userId="24cc2e01-2130-4f78-ae8d-8253b197adea" providerId="ADAL" clId="{04D6EC11-0CE4-48F0-B750-BC7D95EBD056}" dt="2024-03-19T01:43:40.424" v="4017" actId="14100"/>
          <ac:spMkLst>
            <pc:docMk/>
            <pc:sldMk cId="3573287230" sldId="2147479480"/>
            <ac:spMk id="23" creationId="{3019BE52-C95B-4549-9ECC-D11F4430A930}"/>
          </ac:spMkLst>
        </pc:spChg>
        <pc:spChg chg="mod">
          <ac:chgData name="Lisa Boyette" userId="24cc2e01-2130-4f78-ae8d-8253b197adea" providerId="ADAL" clId="{04D6EC11-0CE4-48F0-B750-BC7D95EBD056}" dt="2024-03-19T01:43:50.289" v="4019" actId="14100"/>
          <ac:spMkLst>
            <pc:docMk/>
            <pc:sldMk cId="3573287230" sldId="2147479480"/>
            <ac:spMk id="25" creationId="{05668B2D-4CD6-4468-9E2E-FCA9C62C0A7F}"/>
          </ac:spMkLst>
        </pc:spChg>
        <pc:spChg chg="mod">
          <ac:chgData name="Lisa Boyette" userId="24cc2e01-2130-4f78-ae8d-8253b197adea" providerId="ADAL" clId="{04D6EC11-0CE4-48F0-B750-BC7D95EBD056}" dt="2024-03-19T02:29:20.816" v="4668" actId="14100"/>
          <ac:spMkLst>
            <pc:docMk/>
            <pc:sldMk cId="3573287230" sldId="2147479480"/>
            <ac:spMk id="26" creationId="{EEECE02F-844A-496B-B9F8-EB80DC6E495E}"/>
          </ac:spMkLst>
        </pc:spChg>
        <pc:spChg chg="mod">
          <ac:chgData name="Lisa Boyette" userId="24cc2e01-2130-4f78-ae8d-8253b197adea" providerId="ADAL" clId="{04D6EC11-0CE4-48F0-B750-BC7D95EBD056}" dt="2024-03-19T02:29:36.016" v="4705" actId="1038"/>
          <ac:spMkLst>
            <pc:docMk/>
            <pc:sldMk cId="3573287230" sldId="2147479480"/>
            <ac:spMk id="27" creationId="{D9ED5308-411E-4CC1-A122-5ADF414CC7AA}"/>
          </ac:spMkLst>
        </pc:spChg>
        <pc:spChg chg="mod">
          <ac:chgData name="Lisa Boyette" userId="24cc2e01-2130-4f78-ae8d-8253b197adea" providerId="ADAL" clId="{04D6EC11-0CE4-48F0-B750-BC7D95EBD056}" dt="2024-03-19T02:29:36.016" v="4705" actId="1038"/>
          <ac:spMkLst>
            <pc:docMk/>
            <pc:sldMk cId="3573287230" sldId="2147479480"/>
            <ac:spMk id="28" creationId="{EB9993C8-B332-470F-89CB-B653F9A3CE35}"/>
          </ac:spMkLst>
        </pc:spChg>
        <pc:spChg chg="mod">
          <ac:chgData name="Lisa Boyette" userId="24cc2e01-2130-4f78-ae8d-8253b197adea" providerId="ADAL" clId="{04D6EC11-0CE4-48F0-B750-BC7D95EBD056}" dt="2024-03-19T01:44:09.820" v="4068" actId="1038"/>
          <ac:spMkLst>
            <pc:docMk/>
            <pc:sldMk cId="3573287230" sldId="2147479480"/>
            <ac:spMk id="30" creationId="{9534857F-C189-4315-9BCC-E337903A120C}"/>
          </ac:spMkLst>
        </pc:spChg>
        <pc:spChg chg="mod">
          <ac:chgData name="Lisa Boyette" userId="24cc2e01-2130-4f78-ae8d-8253b197adea" providerId="ADAL" clId="{04D6EC11-0CE4-48F0-B750-BC7D95EBD056}" dt="2024-03-19T01:33:51.857" v="3832" actId="164"/>
          <ac:spMkLst>
            <pc:docMk/>
            <pc:sldMk cId="3573287230" sldId="2147479480"/>
            <ac:spMk id="32" creationId="{36B39F7A-C195-4A1D-8F05-4C31F06C9D6B}"/>
          </ac:spMkLst>
        </pc:spChg>
        <pc:spChg chg="mod">
          <ac:chgData name="Lisa Boyette" userId="24cc2e01-2130-4f78-ae8d-8253b197adea" providerId="ADAL" clId="{04D6EC11-0CE4-48F0-B750-BC7D95EBD056}" dt="2024-03-19T01:40:01.528" v="3953"/>
          <ac:spMkLst>
            <pc:docMk/>
            <pc:sldMk cId="3573287230" sldId="2147479480"/>
            <ac:spMk id="33" creationId="{D4E4E19F-28F6-D4CE-5D7D-F7ECF8EB5F17}"/>
          </ac:spMkLst>
        </pc:spChg>
        <pc:spChg chg="mod">
          <ac:chgData name="Lisa Boyette" userId="24cc2e01-2130-4f78-ae8d-8253b197adea" providerId="ADAL" clId="{04D6EC11-0CE4-48F0-B750-BC7D95EBD056}" dt="2024-03-19T01:40:01.528" v="3953"/>
          <ac:spMkLst>
            <pc:docMk/>
            <pc:sldMk cId="3573287230" sldId="2147479480"/>
            <ac:spMk id="34" creationId="{D5287DF4-9385-609B-6BE3-4695F998E87F}"/>
          </ac:spMkLst>
        </pc:spChg>
        <pc:spChg chg="mod">
          <ac:chgData name="Lisa Boyette" userId="24cc2e01-2130-4f78-ae8d-8253b197adea" providerId="ADAL" clId="{04D6EC11-0CE4-48F0-B750-BC7D95EBD056}" dt="2024-03-19T01:35:01.241" v="3952" actId="14100"/>
          <ac:spMkLst>
            <pc:docMk/>
            <pc:sldMk cId="3573287230" sldId="2147479480"/>
            <ac:spMk id="35" creationId="{5EC7DD41-A808-4F99-AB86-9CB9CB106C8F}"/>
          </ac:spMkLst>
        </pc:spChg>
        <pc:spChg chg="mod">
          <ac:chgData name="Lisa Boyette" userId="24cc2e01-2130-4f78-ae8d-8253b197adea" providerId="ADAL" clId="{04D6EC11-0CE4-48F0-B750-BC7D95EBD056}" dt="2024-03-19T01:35:01.241" v="3952" actId="14100"/>
          <ac:spMkLst>
            <pc:docMk/>
            <pc:sldMk cId="3573287230" sldId="2147479480"/>
            <ac:spMk id="36" creationId="{DDDDE418-EA1D-4510-81C3-BE4744B14063}"/>
          </ac:spMkLst>
        </pc:spChg>
        <pc:spChg chg="mod">
          <ac:chgData name="Lisa Boyette" userId="24cc2e01-2130-4f78-ae8d-8253b197adea" providerId="ADAL" clId="{04D6EC11-0CE4-48F0-B750-BC7D95EBD056}" dt="2024-03-19T01:57:44.268" v="4261" actId="1037"/>
          <ac:spMkLst>
            <pc:docMk/>
            <pc:sldMk cId="3573287230" sldId="2147479480"/>
            <ac:spMk id="37" creationId="{6CF6AEA5-CFAC-E6F3-5E02-210F1E4E7334}"/>
          </ac:spMkLst>
        </pc:spChg>
        <pc:spChg chg="del mod">
          <ac:chgData name="Lisa Boyette" userId="24cc2e01-2130-4f78-ae8d-8253b197adea" providerId="ADAL" clId="{04D6EC11-0CE4-48F0-B750-BC7D95EBD056}" dt="2024-03-19T01:57:18.079" v="4255" actId="478"/>
          <ac:spMkLst>
            <pc:docMk/>
            <pc:sldMk cId="3573287230" sldId="2147479480"/>
            <ac:spMk id="38" creationId="{4E6B08AC-3365-B9E5-BF83-32CB582A28E7}"/>
          </ac:spMkLst>
        </pc:spChg>
        <pc:spChg chg="mod">
          <ac:chgData name="Lisa Boyette" userId="24cc2e01-2130-4f78-ae8d-8253b197adea" providerId="ADAL" clId="{04D6EC11-0CE4-48F0-B750-BC7D95EBD056}" dt="2024-03-19T01:44:43.428" v="4152" actId="1038"/>
          <ac:spMkLst>
            <pc:docMk/>
            <pc:sldMk cId="3573287230" sldId="2147479480"/>
            <ac:spMk id="40" creationId="{1761F467-29FB-46B3-9D7F-AEF31C3E6FCE}"/>
          </ac:spMkLst>
        </pc:spChg>
        <pc:spChg chg="mod">
          <ac:chgData name="Lisa Boyette" userId="24cc2e01-2130-4f78-ae8d-8253b197adea" providerId="ADAL" clId="{04D6EC11-0CE4-48F0-B750-BC7D95EBD056}" dt="2024-03-19T01:44:55.967" v="4153" actId="408"/>
          <ac:spMkLst>
            <pc:docMk/>
            <pc:sldMk cId="3573287230" sldId="2147479480"/>
            <ac:spMk id="42" creationId="{64F53751-3DE9-47F5-8A25-6912F8D88A33}"/>
          </ac:spMkLst>
        </pc:spChg>
        <pc:spChg chg="mod">
          <ac:chgData name="Lisa Boyette" userId="24cc2e01-2130-4f78-ae8d-8253b197adea" providerId="ADAL" clId="{04D6EC11-0CE4-48F0-B750-BC7D95EBD056}" dt="2024-03-19T01:44:55.967" v="4153" actId="408"/>
          <ac:spMkLst>
            <pc:docMk/>
            <pc:sldMk cId="3573287230" sldId="2147479480"/>
            <ac:spMk id="43" creationId="{DB32AC6C-D179-4D75-BC84-0BF22BF803F4}"/>
          </ac:spMkLst>
        </pc:spChg>
        <pc:spChg chg="mod">
          <ac:chgData name="Lisa Boyette" userId="24cc2e01-2130-4f78-ae8d-8253b197adea" providerId="ADAL" clId="{04D6EC11-0CE4-48F0-B750-BC7D95EBD056}" dt="2024-03-19T02:05:06.674" v="4345" actId="20577"/>
          <ac:spMkLst>
            <pc:docMk/>
            <pc:sldMk cId="3573287230" sldId="2147479480"/>
            <ac:spMk id="44" creationId="{B24092AC-D30C-8F2A-8CA8-9974D7F304A1}"/>
          </ac:spMkLst>
        </pc:spChg>
        <pc:spChg chg="del mod">
          <ac:chgData name="Lisa Boyette" userId="24cc2e01-2130-4f78-ae8d-8253b197adea" providerId="ADAL" clId="{04D6EC11-0CE4-48F0-B750-BC7D95EBD056}" dt="2024-03-19T02:29:03.537" v="4665" actId="478"/>
          <ac:spMkLst>
            <pc:docMk/>
            <pc:sldMk cId="3573287230" sldId="2147479480"/>
            <ac:spMk id="45" creationId="{D52B04B1-CF05-DA5D-0EC2-1F1AF326C6EC}"/>
          </ac:spMkLst>
        </pc:spChg>
        <pc:spChg chg="mod">
          <ac:chgData name="Lisa Boyette" userId="24cc2e01-2130-4f78-ae8d-8253b197adea" providerId="ADAL" clId="{04D6EC11-0CE4-48F0-B750-BC7D95EBD056}" dt="2024-03-19T02:28:50.802" v="4662" actId="6549"/>
          <ac:spMkLst>
            <pc:docMk/>
            <pc:sldMk cId="3573287230" sldId="2147479480"/>
            <ac:spMk id="46" creationId="{CCED335F-4CE7-1C08-37FA-A5BAC0ACB447}"/>
          </ac:spMkLst>
        </pc:spChg>
        <pc:spChg chg="del mod">
          <ac:chgData name="Lisa Boyette" userId="24cc2e01-2130-4f78-ae8d-8253b197adea" providerId="ADAL" clId="{04D6EC11-0CE4-48F0-B750-BC7D95EBD056}" dt="2024-03-19T02:29:00.728" v="4664" actId="478"/>
          <ac:spMkLst>
            <pc:docMk/>
            <pc:sldMk cId="3573287230" sldId="2147479480"/>
            <ac:spMk id="47" creationId="{5A085EB5-4510-5870-2C95-424EE86D1F65}"/>
          </ac:spMkLst>
        </pc:spChg>
        <pc:spChg chg="mod">
          <ac:chgData name="Lisa Boyette" userId="24cc2e01-2130-4f78-ae8d-8253b197adea" providerId="ADAL" clId="{04D6EC11-0CE4-48F0-B750-BC7D95EBD056}" dt="2024-03-19T01:56:02.714" v="4246" actId="20577"/>
          <ac:spMkLst>
            <pc:docMk/>
            <pc:sldMk cId="3573287230" sldId="2147479480"/>
            <ac:spMk id="49" creationId="{8CE7089B-12A1-409A-B366-DF4F50836105}"/>
          </ac:spMkLst>
        </pc:spChg>
        <pc:spChg chg="mod">
          <ac:chgData name="Lisa Boyette" userId="24cc2e01-2130-4f78-ae8d-8253b197adea" providerId="ADAL" clId="{04D6EC11-0CE4-48F0-B750-BC7D95EBD056}" dt="2024-03-19T02:28:48.973" v="4661" actId="6549"/>
          <ac:spMkLst>
            <pc:docMk/>
            <pc:sldMk cId="3573287230" sldId="2147479480"/>
            <ac:spMk id="51" creationId="{690DC254-042A-AFB3-AA75-9FFFFC480C48}"/>
          </ac:spMkLst>
        </pc:spChg>
        <pc:spChg chg="add del mod">
          <ac:chgData name="Lisa Boyette" userId="24cc2e01-2130-4f78-ae8d-8253b197adea" providerId="ADAL" clId="{04D6EC11-0CE4-48F0-B750-BC7D95EBD056}" dt="2024-03-19T02:30:42.920" v="4742" actId="1038"/>
          <ac:spMkLst>
            <pc:docMk/>
            <pc:sldMk cId="3573287230" sldId="2147479480"/>
            <ac:spMk id="52" creationId="{063862FC-FE61-19D3-951A-8FD613693F4A}"/>
          </ac:spMkLst>
        </pc:spChg>
        <pc:spChg chg="mod">
          <ac:chgData name="Lisa Boyette" userId="24cc2e01-2130-4f78-ae8d-8253b197adea" providerId="ADAL" clId="{04D6EC11-0CE4-48F0-B750-BC7D95EBD056}" dt="2024-03-19T02:30:42.920" v="4742" actId="1038"/>
          <ac:spMkLst>
            <pc:docMk/>
            <pc:sldMk cId="3573287230" sldId="2147479480"/>
            <ac:spMk id="53" creationId="{92C889CE-733C-E393-39F3-B574FD7FB31E}"/>
          </ac:spMkLst>
        </pc:spChg>
        <pc:spChg chg="add mod">
          <ac:chgData name="Lisa Boyette" userId="24cc2e01-2130-4f78-ae8d-8253b197adea" providerId="ADAL" clId="{04D6EC11-0CE4-48F0-B750-BC7D95EBD056}" dt="2024-03-19T01:43:19.176" v="4015" actId="20577"/>
          <ac:spMkLst>
            <pc:docMk/>
            <pc:sldMk cId="3573287230" sldId="2147479480"/>
            <ac:spMk id="55" creationId="{B6D5F4FD-A8D0-1835-E6BE-A42B853D31EE}"/>
          </ac:spMkLst>
        </pc:spChg>
        <pc:spChg chg="add mod">
          <ac:chgData name="Lisa Boyette" userId="24cc2e01-2130-4f78-ae8d-8253b197adea" providerId="ADAL" clId="{04D6EC11-0CE4-48F0-B750-BC7D95EBD056}" dt="2024-03-19T01:43:10.717" v="3994" actId="12789"/>
          <ac:spMkLst>
            <pc:docMk/>
            <pc:sldMk cId="3573287230" sldId="2147479480"/>
            <ac:spMk id="56" creationId="{22B3955E-AA53-171E-1DB5-78B177EC5D88}"/>
          </ac:spMkLst>
        </pc:spChg>
        <pc:spChg chg="add mod">
          <ac:chgData name="Lisa Boyette" userId="24cc2e01-2130-4f78-ae8d-8253b197adea" providerId="ADAL" clId="{04D6EC11-0CE4-48F0-B750-BC7D95EBD056}" dt="2024-03-19T01:52:53.502" v="4167" actId="20577"/>
          <ac:spMkLst>
            <pc:docMk/>
            <pc:sldMk cId="3573287230" sldId="2147479480"/>
            <ac:spMk id="59" creationId="{908C2FC7-B102-6DEA-2161-EFCED16DEBB1}"/>
          </ac:spMkLst>
        </pc:spChg>
        <pc:spChg chg="add mod">
          <ac:chgData name="Lisa Boyette" userId="24cc2e01-2130-4f78-ae8d-8253b197adea" providerId="ADAL" clId="{04D6EC11-0CE4-48F0-B750-BC7D95EBD056}" dt="2024-03-19T01:53:53.341" v="4173" actId="164"/>
          <ac:spMkLst>
            <pc:docMk/>
            <pc:sldMk cId="3573287230" sldId="2147479480"/>
            <ac:spMk id="60" creationId="{A13C9A3F-D807-2AF9-8AA7-A0404D3D14DE}"/>
          </ac:spMkLst>
        </pc:spChg>
        <pc:spChg chg="add mod">
          <ac:chgData name="Lisa Boyette" userId="24cc2e01-2130-4f78-ae8d-8253b197adea" providerId="ADAL" clId="{04D6EC11-0CE4-48F0-B750-BC7D95EBD056}" dt="2024-03-19T01:53:53.341" v="4173" actId="164"/>
          <ac:spMkLst>
            <pc:docMk/>
            <pc:sldMk cId="3573287230" sldId="2147479480"/>
            <ac:spMk id="61" creationId="{6878AAAF-C4C1-9496-29C9-F856D5A59AE8}"/>
          </ac:spMkLst>
        </pc:spChg>
        <pc:spChg chg="add mod">
          <ac:chgData name="Lisa Boyette" userId="24cc2e01-2130-4f78-ae8d-8253b197adea" providerId="ADAL" clId="{04D6EC11-0CE4-48F0-B750-BC7D95EBD056}" dt="2024-03-19T01:53:53.341" v="4173" actId="164"/>
          <ac:spMkLst>
            <pc:docMk/>
            <pc:sldMk cId="3573287230" sldId="2147479480"/>
            <ac:spMk id="62" creationId="{CCFB5F29-6D68-CBED-D2F6-246555467688}"/>
          </ac:spMkLst>
        </pc:spChg>
        <pc:spChg chg="add mod">
          <ac:chgData name="Lisa Boyette" userId="24cc2e01-2130-4f78-ae8d-8253b197adea" providerId="ADAL" clId="{04D6EC11-0CE4-48F0-B750-BC7D95EBD056}" dt="2024-03-19T01:53:53.341" v="4173" actId="164"/>
          <ac:spMkLst>
            <pc:docMk/>
            <pc:sldMk cId="3573287230" sldId="2147479480"/>
            <ac:spMk id="63" creationId="{7BFA58B2-F1BD-787B-29C2-CF286B4BC737}"/>
          </ac:spMkLst>
        </pc:spChg>
        <pc:spChg chg="add mod">
          <ac:chgData name="Lisa Boyette" userId="24cc2e01-2130-4f78-ae8d-8253b197adea" providerId="ADAL" clId="{04D6EC11-0CE4-48F0-B750-BC7D95EBD056}" dt="2024-03-19T01:54:09.957" v="4177" actId="1036"/>
          <ac:spMkLst>
            <pc:docMk/>
            <pc:sldMk cId="3573287230" sldId="2147479480"/>
            <ac:spMk id="64" creationId="{F49B6117-DA17-7960-F231-DF1C119ACCEB}"/>
          </ac:spMkLst>
        </pc:spChg>
        <pc:spChg chg="add mod">
          <ac:chgData name="Lisa Boyette" userId="24cc2e01-2130-4f78-ae8d-8253b197adea" providerId="ADAL" clId="{04D6EC11-0CE4-48F0-B750-BC7D95EBD056}" dt="2024-03-19T01:58:36.376" v="4268" actId="1076"/>
          <ac:spMkLst>
            <pc:docMk/>
            <pc:sldMk cId="3573287230" sldId="2147479480"/>
            <ac:spMk id="70" creationId="{988AF205-54C0-E389-DAA0-31D2C316EF80}"/>
          </ac:spMkLst>
        </pc:spChg>
        <pc:spChg chg="add mod">
          <ac:chgData name="Lisa Boyette" userId="24cc2e01-2130-4f78-ae8d-8253b197adea" providerId="ADAL" clId="{04D6EC11-0CE4-48F0-B750-BC7D95EBD056}" dt="2024-03-19T02:27:07.173" v="4645" actId="164"/>
          <ac:spMkLst>
            <pc:docMk/>
            <pc:sldMk cId="3573287230" sldId="2147479480"/>
            <ac:spMk id="71" creationId="{2610EF9D-4A04-ECAE-B3AF-093A3C88CE2D}"/>
          </ac:spMkLst>
        </pc:spChg>
        <pc:spChg chg="add mod">
          <ac:chgData name="Lisa Boyette" userId="24cc2e01-2130-4f78-ae8d-8253b197adea" providerId="ADAL" clId="{04D6EC11-0CE4-48F0-B750-BC7D95EBD056}" dt="2024-03-19T02:27:07.173" v="4645" actId="164"/>
          <ac:spMkLst>
            <pc:docMk/>
            <pc:sldMk cId="3573287230" sldId="2147479480"/>
            <ac:spMk id="72" creationId="{26080636-9279-A775-F3AB-427B2D93C98A}"/>
          </ac:spMkLst>
        </pc:spChg>
        <pc:grpChg chg="mod">
          <ac:chgData name="Lisa Boyette" userId="24cc2e01-2130-4f78-ae8d-8253b197adea" providerId="ADAL" clId="{04D6EC11-0CE4-48F0-B750-BC7D95EBD056}" dt="2024-03-19T01:34:53.691" v="3951" actId="14100"/>
          <ac:grpSpMkLst>
            <pc:docMk/>
            <pc:sldMk cId="3573287230" sldId="2147479480"/>
            <ac:grpSpMk id="3" creationId="{D3275D59-4ADE-7ABF-7FD8-719E2DCE3566}"/>
          </ac:grpSpMkLst>
        </pc:grpChg>
        <pc:grpChg chg="mod">
          <ac:chgData name="Lisa Boyette" userId="24cc2e01-2130-4f78-ae8d-8253b197adea" providerId="ADAL" clId="{04D6EC11-0CE4-48F0-B750-BC7D95EBD056}" dt="2024-03-19T01:58:50.352" v="4269" actId="14100"/>
          <ac:grpSpMkLst>
            <pc:docMk/>
            <pc:sldMk cId="3573287230" sldId="2147479480"/>
            <ac:grpSpMk id="5" creationId="{46830DB6-D408-981B-2ED1-84CA82211DDC}"/>
          </ac:grpSpMkLst>
        </pc:grpChg>
        <pc:grpChg chg="mod">
          <ac:chgData name="Lisa Boyette" userId="24cc2e01-2130-4f78-ae8d-8253b197adea" providerId="ADAL" clId="{04D6EC11-0CE4-48F0-B750-BC7D95EBD056}" dt="2024-03-19T01:43:46.659" v="4018" actId="14100"/>
          <ac:grpSpMkLst>
            <pc:docMk/>
            <pc:sldMk cId="3573287230" sldId="2147479480"/>
            <ac:grpSpMk id="6" creationId="{BEFBE8E9-38B6-9471-B57B-AD3ECF2B9E5A}"/>
          </ac:grpSpMkLst>
        </pc:grpChg>
        <pc:grpChg chg="add mod">
          <ac:chgData name="Lisa Boyette" userId="24cc2e01-2130-4f78-ae8d-8253b197adea" providerId="ADAL" clId="{04D6EC11-0CE4-48F0-B750-BC7D95EBD056}" dt="2024-03-19T01:34:34.512" v="3938" actId="14100"/>
          <ac:grpSpMkLst>
            <pc:docMk/>
            <pc:sldMk cId="3573287230" sldId="2147479480"/>
            <ac:grpSpMk id="10" creationId="{E830FD49-BC6B-FEE2-746F-583ADEB5A64A}"/>
          </ac:grpSpMkLst>
        </pc:grpChg>
        <pc:grpChg chg="add mod">
          <ac:chgData name="Lisa Boyette" userId="24cc2e01-2130-4f78-ae8d-8253b197adea" providerId="ADAL" clId="{04D6EC11-0CE4-48F0-B750-BC7D95EBD056}" dt="2024-03-19T01:56:36.780" v="4250" actId="1035"/>
          <ac:grpSpMkLst>
            <pc:docMk/>
            <pc:sldMk cId="3573287230" sldId="2147479480"/>
            <ac:grpSpMk id="13" creationId="{C1AC2310-B977-686D-251C-0E03E5FC86D3}"/>
          </ac:grpSpMkLst>
        </pc:grpChg>
        <pc:grpChg chg="add mod">
          <ac:chgData name="Lisa Boyette" userId="24cc2e01-2130-4f78-ae8d-8253b197adea" providerId="ADAL" clId="{04D6EC11-0CE4-48F0-B750-BC7D95EBD056}" dt="2024-03-19T01:53:53.341" v="4173" actId="164"/>
          <ac:grpSpMkLst>
            <pc:docMk/>
            <pc:sldMk cId="3573287230" sldId="2147479480"/>
            <ac:grpSpMk id="65" creationId="{2B6DE642-A6CB-E231-7685-51F7A17E1B14}"/>
          </ac:grpSpMkLst>
        </pc:grpChg>
        <pc:grpChg chg="add mod">
          <ac:chgData name="Lisa Boyette" userId="24cc2e01-2130-4f78-ae8d-8253b197adea" providerId="ADAL" clId="{04D6EC11-0CE4-48F0-B750-BC7D95EBD056}" dt="2024-03-19T02:27:07.173" v="4645" actId="164"/>
          <ac:grpSpMkLst>
            <pc:docMk/>
            <pc:sldMk cId="3573287230" sldId="2147479480"/>
            <ac:grpSpMk id="73" creationId="{3D36020E-B701-7150-B9E3-A45E7AD8B1B5}"/>
          </ac:grpSpMkLst>
        </pc:grpChg>
        <pc:cxnChg chg="mod">
          <ac:chgData name="Lisa Boyette" userId="24cc2e01-2130-4f78-ae8d-8253b197adea" providerId="ADAL" clId="{04D6EC11-0CE4-48F0-B750-BC7D95EBD056}" dt="2024-03-19T01:54:09.957" v="4177" actId="1036"/>
          <ac:cxnSpMkLst>
            <pc:docMk/>
            <pc:sldMk cId="3573287230" sldId="2147479480"/>
            <ac:cxnSpMk id="18" creationId="{BCDEE155-A36B-4A84-B90C-6DE694840229}"/>
          </ac:cxnSpMkLst>
        </pc:cxnChg>
        <pc:cxnChg chg="mod">
          <ac:chgData name="Lisa Boyette" userId="24cc2e01-2130-4f78-ae8d-8253b197adea" providerId="ADAL" clId="{04D6EC11-0CE4-48F0-B750-BC7D95EBD056}" dt="2024-03-19T01:44:16.302" v="4069" actId="14100"/>
          <ac:cxnSpMkLst>
            <pc:docMk/>
            <pc:sldMk cId="3573287230" sldId="2147479480"/>
            <ac:cxnSpMk id="29" creationId="{E90C4CF5-E1C1-473B-A16C-9BFD0C2404FD}"/>
          </ac:cxnSpMkLst>
        </pc:cxnChg>
        <pc:cxnChg chg="add mod">
          <ac:chgData name="Lisa Boyette" userId="24cc2e01-2130-4f78-ae8d-8253b197adea" providerId="ADAL" clId="{04D6EC11-0CE4-48F0-B750-BC7D95EBD056}" dt="2024-03-19T01:54:29.435" v="4180" actId="208"/>
          <ac:cxnSpMkLst>
            <pc:docMk/>
            <pc:sldMk cId="3573287230" sldId="2147479480"/>
            <ac:cxnSpMk id="67" creationId="{16883489-5679-520A-32F1-EFE73CDA0345}"/>
          </ac:cxnSpMkLst>
        </pc:cxnChg>
        <pc:cxnChg chg="add del">
          <ac:chgData name="Lisa Boyette" userId="24cc2e01-2130-4f78-ae8d-8253b197adea" providerId="ADAL" clId="{04D6EC11-0CE4-48F0-B750-BC7D95EBD056}" dt="2024-03-19T01:54:54.058" v="4182" actId="478"/>
          <ac:cxnSpMkLst>
            <pc:docMk/>
            <pc:sldMk cId="3573287230" sldId="2147479480"/>
            <ac:cxnSpMk id="69" creationId="{C767B50E-C9C0-EE43-0DF4-600698356E7C}"/>
          </ac:cxnSpMkLst>
        </pc:cxnChg>
        <pc:cxnChg chg="add mod">
          <ac:chgData name="Lisa Boyette" userId="24cc2e01-2130-4f78-ae8d-8253b197adea" providerId="ADAL" clId="{04D6EC11-0CE4-48F0-B750-BC7D95EBD056}" dt="2024-03-19T02:30:41.656" v="4740" actId="1038"/>
          <ac:cxnSpMkLst>
            <pc:docMk/>
            <pc:sldMk cId="3573287230" sldId="2147479480"/>
            <ac:cxnSpMk id="75" creationId="{F54AC5C7-79F9-24D6-DF45-66DEDC4C0CE6}"/>
          </ac:cxnSpMkLst>
        </pc:cxnChg>
        <pc:cxnChg chg="add mod">
          <ac:chgData name="Lisa Boyette" userId="24cc2e01-2130-4f78-ae8d-8253b197adea" providerId="ADAL" clId="{04D6EC11-0CE4-48F0-B750-BC7D95EBD056}" dt="2024-03-19T02:30:41.656" v="4740" actId="1038"/>
          <ac:cxnSpMkLst>
            <pc:docMk/>
            <pc:sldMk cId="3573287230" sldId="2147479480"/>
            <ac:cxnSpMk id="76" creationId="{2EB8829A-6BF2-36BE-89FD-F07C890921BD}"/>
          </ac:cxnSpMkLst>
        </pc:cxnChg>
      </pc:sldChg>
      <pc:sldChg chg="add del setBg">
        <pc:chgData name="Lisa Boyette" userId="24cc2e01-2130-4f78-ae8d-8253b197adea" providerId="ADAL" clId="{04D6EC11-0CE4-48F0-B750-BC7D95EBD056}" dt="2024-03-20T14:39:58.482" v="8623" actId="47"/>
        <pc:sldMkLst>
          <pc:docMk/>
          <pc:sldMk cId="1828986569" sldId="2147479481"/>
        </pc:sldMkLst>
      </pc:sldChg>
      <pc:sldChg chg="addSp delSp modSp del mod setBg modClrScheme chgLayout">
        <pc:chgData name="Lisa Boyette" userId="24cc2e01-2130-4f78-ae8d-8253b197adea" providerId="ADAL" clId="{04D6EC11-0CE4-48F0-B750-BC7D95EBD056}" dt="2024-03-20T02:52:11.352" v="8311" actId="2696"/>
        <pc:sldMkLst>
          <pc:docMk/>
          <pc:sldMk cId="2619622909" sldId="2147479481"/>
        </pc:sldMkLst>
        <pc:spChg chg="add del mod ord">
          <ac:chgData name="Lisa Boyette" userId="24cc2e01-2130-4f78-ae8d-8253b197adea" providerId="ADAL" clId="{04D6EC11-0CE4-48F0-B750-BC7D95EBD056}" dt="2024-03-19T03:00:30.259" v="7069" actId="700"/>
          <ac:spMkLst>
            <pc:docMk/>
            <pc:sldMk cId="2619622909" sldId="2147479481"/>
            <ac:spMk id="3" creationId="{A2BA0118-AD4F-3995-B6BD-29F96716F15A}"/>
          </ac:spMkLst>
        </pc:spChg>
        <pc:spChg chg="del mod ord">
          <ac:chgData name="Lisa Boyette" userId="24cc2e01-2130-4f78-ae8d-8253b197adea" providerId="ADAL" clId="{04D6EC11-0CE4-48F0-B750-BC7D95EBD056}" dt="2024-03-19T03:01:43.697" v="7078" actId="478"/>
          <ac:spMkLst>
            <pc:docMk/>
            <pc:sldMk cId="2619622909" sldId="2147479481"/>
            <ac:spMk id="4" creationId="{E0A95E15-02AE-B64B-857D-D16416ED60FC}"/>
          </ac:spMkLst>
        </pc:spChg>
        <pc:spChg chg="del">
          <ac:chgData name="Lisa Boyette" userId="24cc2e01-2130-4f78-ae8d-8253b197adea" providerId="ADAL" clId="{04D6EC11-0CE4-48F0-B750-BC7D95EBD056}" dt="2024-03-19T03:00:15.397" v="7067" actId="478"/>
          <ac:spMkLst>
            <pc:docMk/>
            <pc:sldMk cId="2619622909" sldId="2147479481"/>
            <ac:spMk id="5" creationId="{7DFCAC43-7E4B-4542-957B-E13E321D2A71}"/>
          </ac:spMkLst>
        </pc:spChg>
        <pc:spChg chg="add del mod ord">
          <ac:chgData name="Lisa Boyette" userId="24cc2e01-2130-4f78-ae8d-8253b197adea" providerId="ADAL" clId="{04D6EC11-0CE4-48F0-B750-BC7D95EBD056}" dt="2024-03-19T03:02:13.104" v="7081" actId="700"/>
          <ac:spMkLst>
            <pc:docMk/>
            <pc:sldMk cId="2619622909" sldId="2147479481"/>
            <ac:spMk id="6" creationId="{8ECC7CDD-2F1D-3D6E-B8B9-4B7BDEC2C730}"/>
          </ac:spMkLst>
        </pc:spChg>
        <pc:spChg chg="add mod ord">
          <ac:chgData name="Lisa Boyette" userId="24cc2e01-2130-4f78-ae8d-8253b197adea" providerId="ADAL" clId="{04D6EC11-0CE4-48F0-B750-BC7D95EBD056}" dt="2024-03-19T03:02:46.850" v="7083" actId="700"/>
          <ac:spMkLst>
            <pc:docMk/>
            <pc:sldMk cId="2619622909" sldId="2147479481"/>
            <ac:spMk id="7" creationId="{D05E0986-7E49-4C3D-E047-91E20FD58A9D}"/>
          </ac:spMkLst>
        </pc:spChg>
        <pc:spChg chg="mod ord">
          <ac:chgData name="Lisa Boyette" userId="24cc2e01-2130-4f78-ae8d-8253b197adea" providerId="ADAL" clId="{04D6EC11-0CE4-48F0-B750-BC7D95EBD056}" dt="2024-03-19T03:03:35.513" v="7093" actId="1076"/>
          <ac:spMkLst>
            <pc:docMk/>
            <pc:sldMk cId="2619622909" sldId="2147479481"/>
            <ac:spMk id="40" creationId="{8A64CF47-DCFD-5E4F-9419-0C92810259DF}"/>
          </ac:spMkLst>
        </pc:spChg>
        <pc:graphicFrameChg chg="mod modGraphic">
          <ac:chgData name="Lisa Boyette" userId="24cc2e01-2130-4f78-ae8d-8253b197adea" providerId="ADAL" clId="{04D6EC11-0CE4-48F0-B750-BC7D95EBD056}" dt="2024-03-19T21:37:16.399" v="7788" actId="20577"/>
          <ac:graphicFrameMkLst>
            <pc:docMk/>
            <pc:sldMk cId="2619622909" sldId="2147479481"/>
            <ac:graphicFrameMk id="2" creationId="{3B163526-BF01-46CA-8C94-CE7564279017}"/>
          </ac:graphicFrameMkLst>
        </pc:graphicFrameChg>
      </pc:sldChg>
      <pc:sldChg chg="add">
        <pc:chgData name="Lisa Boyette" userId="24cc2e01-2130-4f78-ae8d-8253b197adea" providerId="ADAL" clId="{04D6EC11-0CE4-48F0-B750-BC7D95EBD056}" dt="2024-03-19T21:40:21.319" v="7853"/>
        <pc:sldMkLst>
          <pc:docMk/>
          <pc:sldMk cId="1858045540" sldId="2147479482"/>
        </pc:sldMkLst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1988166858" sldId="2147479482"/>
        </pc:sldMkLst>
      </pc:sldChg>
      <pc:sldChg chg="add del">
        <pc:chgData name="Lisa Boyette" userId="24cc2e01-2130-4f78-ae8d-8253b197adea" providerId="ADAL" clId="{04D6EC11-0CE4-48F0-B750-BC7D95EBD056}" dt="2024-03-19T02:20:52.060" v="4548" actId="2696"/>
        <pc:sldMkLst>
          <pc:docMk/>
          <pc:sldMk cId="2131596709" sldId="2147479482"/>
        </pc:sldMkLst>
      </pc:sldChg>
      <pc:sldChg chg="delSp modSp add del mod">
        <pc:chgData name="Lisa Boyette" userId="24cc2e01-2130-4f78-ae8d-8253b197adea" providerId="ADAL" clId="{04D6EC11-0CE4-48F0-B750-BC7D95EBD056}" dt="2024-03-19T21:40:14.474" v="7852" actId="2696"/>
        <pc:sldMkLst>
          <pc:docMk/>
          <pc:sldMk cId="3539717530" sldId="2147479482"/>
        </pc:sldMkLst>
        <pc:spChg chg="mod">
          <ac:chgData name="Lisa Boyette" userId="24cc2e01-2130-4f78-ae8d-8253b197adea" providerId="ADAL" clId="{04D6EC11-0CE4-48F0-B750-BC7D95EBD056}" dt="2024-03-19T02:59:03.439" v="7048" actId="20577"/>
          <ac:spMkLst>
            <pc:docMk/>
            <pc:sldMk cId="3539717530" sldId="2147479482"/>
            <ac:spMk id="2" creationId="{8785B8C3-7731-9911-8641-6D9960590EA5}"/>
          </ac:spMkLst>
        </pc:spChg>
        <pc:spChg chg="mod">
          <ac:chgData name="Lisa Boyette" userId="24cc2e01-2130-4f78-ae8d-8253b197adea" providerId="ADAL" clId="{04D6EC11-0CE4-48F0-B750-BC7D95EBD056}" dt="2024-03-19T02:55:52.184" v="6911" actId="255"/>
          <ac:spMkLst>
            <pc:docMk/>
            <pc:sldMk cId="3539717530" sldId="2147479482"/>
            <ac:spMk id="4" creationId="{C887F2F0-5FD4-6B44-BF9D-793AF6BA4391}"/>
          </ac:spMkLst>
        </pc:spChg>
        <pc:spChg chg="del">
          <ac:chgData name="Lisa Boyette" userId="24cc2e01-2130-4f78-ae8d-8253b197adea" providerId="ADAL" clId="{04D6EC11-0CE4-48F0-B750-BC7D95EBD056}" dt="2024-03-19T02:57:42.613" v="6999" actId="478"/>
          <ac:spMkLst>
            <pc:docMk/>
            <pc:sldMk cId="3539717530" sldId="2147479482"/>
            <ac:spMk id="5" creationId="{DCE2C607-2043-4073-BE2E-82CA7478813C}"/>
          </ac:spMkLst>
        </pc:spChg>
        <pc:spChg chg="mod">
          <ac:chgData name="Lisa Boyette" userId="24cc2e01-2130-4f78-ae8d-8253b197adea" providerId="ADAL" clId="{04D6EC11-0CE4-48F0-B750-BC7D95EBD056}" dt="2024-03-19T02:57:36.173" v="6998" actId="20577"/>
          <ac:spMkLst>
            <pc:docMk/>
            <pc:sldMk cId="3539717530" sldId="2147479482"/>
            <ac:spMk id="7" creationId="{A66CD013-7304-C3F8-258A-63D95941A691}"/>
          </ac:spMkLst>
        </pc:spChg>
        <pc:spChg chg="mod">
          <ac:chgData name="Lisa Boyette" userId="24cc2e01-2130-4f78-ae8d-8253b197adea" providerId="ADAL" clId="{04D6EC11-0CE4-48F0-B750-BC7D95EBD056}" dt="2024-03-19T02:56:21.470" v="6915" actId="208"/>
          <ac:spMkLst>
            <pc:docMk/>
            <pc:sldMk cId="3539717530" sldId="2147479482"/>
            <ac:spMk id="8" creationId="{1462B65E-AB25-4547-2BA7-4EB43117B1D4}"/>
          </ac:spMkLst>
        </pc:spChg>
      </pc:sldChg>
      <pc:sldChg chg="del">
        <pc:chgData name="Lisa Boyette" userId="24cc2e01-2130-4f78-ae8d-8253b197adea" providerId="ADAL" clId="{04D6EC11-0CE4-48F0-B750-BC7D95EBD056}" dt="2024-03-19T01:26:14.814" v="3480" actId="2696"/>
        <pc:sldMkLst>
          <pc:docMk/>
          <pc:sldMk cId="32329921" sldId="2147479483"/>
        </pc:sldMkLst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819027894" sldId="2147479483"/>
        </pc:sldMkLst>
      </pc:sldChg>
      <pc:sldChg chg="modSp add mod ord modCm">
        <pc:chgData name="Lisa Boyette" userId="24cc2e01-2130-4f78-ae8d-8253b197adea" providerId="ADAL" clId="{04D6EC11-0CE4-48F0-B750-BC7D95EBD056}" dt="2024-03-20T02:42:46.159" v="8305"/>
        <pc:sldMkLst>
          <pc:docMk/>
          <pc:sldMk cId="1566014954" sldId="2147479483"/>
        </pc:sldMkLst>
        <pc:spChg chg="mod">
          <ac:chgData name="Lisa Boyette" userId="24cc2e01-2130-4f78-ae8d-8253b197adea" providerId="ADAL" clId="{04D6EC11-0CE4-48F0-B750-BC7D95EBD056}" dt="2024-03-19T03:13:40.655" v="7375" actId="20577"/>
          <ac:spMkLst>
            <pc:docMk/>
            <pc:sldMk cId="1566014954" sldId="2147479483"/>
            <ac:spMk id="2" creationId="{34DFD4A2-E6AB-49DB-98F5-A35A4BF71327}"/>
          </ac:spMkLst>
        </pc:spChg>
        <pc:graphicFrameChg chg="modGraphic">
          <ac:chgData name="Lisa Boyette" userId="24cc2e01-2130-4f78-ae8d-8253b197adea" providerId="ADAL" clId="{04D6EC11-0CE4-48F0-B750-BC7D95EBD056}" dt="2024-03-19T03:22:20.606" v="7498" actId="13926"/>
          <ac:graphicFrameMkLst>
            <pc:docMk/>
            <pc:sldMk cId="1566014954" sldId="2147479483"/>
            <ac:graphicFrameMk id="5" creationId="{EDEC6C2B-3D73-4F40-B6D6-979585E393D9}"/>
          </ac:graphicFrameMkLst>
        </pc:graphicFrameChg>
      </pc:sldChg>
      <pc:sldChg chg="modSp add del mod">
        <pc:chgData name="Lisa Boyette" userId="24cc2e01-2130-4f78-ae8d-8253b197adea" providerId="ADAL" clId="{04D6EC11-0CE4-48F0-B750-BC7D95EBD056}" dt="2024-03-19T02:20:52.060" v="4548" actId="2696"/>
        <pc:sldMkLst>
          <pc:docMk/>
          <pc:sldMk cId="1681893405" sldId="2147479483"/>
        </pc:sldMkLst>
        <pc:spChg chg="mod">
          <ac:chgData name="Lisa Boyette" userId="24cc2e01-2130-4f78-ae8d-8253b197adea" providerId="ADAL" clId="{04D6EC11-0CE4-48F0-B750-BC7D95EBD056}" dt="2024-03-19T01:26:42.634" v="3486" actId="207"/>
          <ac:spMkLst>
            <pc:docMk/>
            <pc:sldMk cId="1681893405" sldId="2147479483"/>
            <ac:spMk id="2" creationId="{34DFD4A2-E6AB-49DB-98F5-A35A4BF71327}"/>
          </ac:spMkLst>
        </pc:spChg>
      </pc:sldChg>
      <pc:sldChg chg="add del">
        <pc:chgData name="Lisa Boyette" userId="24cc2e01-2130-4f78-ae8d-8253b197adea" providerId="ADAL" clId="{04D6EC11-0CE4-48F0-B750-BC7D95EBD056}" dt="2024-03-19T01:26:29.165" v="3482"/>
        <pc:sldMkLst>
          <pc:docMk/>
          <pc:sldMk cId="2280600877" sldId="2147479483"/>
        </pc:sldMkLst>
      </pc:sldChg>
      <pc:sldChg chg="add del">
        <pc:chgData name="Lisa Boyette" userId="24cc2e01-2130-4f78-ae8d-8253b197adea" providerId="ADAL" clId="{04D6EC11-0CE4-48F0-B750-BC7D95EBD056}" dt="2024-03-19T02:28:00.871" v="4658"/>
        <pc:sldMkLst>
          <pc:docMk/>
          <pc:sldMk cId="177210836" sldId="2147482124"/>
        </pc:sldMkLst>
      </pc:sldChg>
      <pc:sldChg chg="delSp modSp add del mod ord">
        <pc:chgData name="Lisa Boyette" userId="24cc2e01-2130-4f78-ae8d-8253b197adea" providerId="ADAL" clId="{04D6EC11-0CE4-48F0-B750-BC7D95EBD056}" dt="2024-03-19T02:27:54.036" v="4656" actId="2696"/>
        <pc:sldMkLst>
          <pc:docMk/>
          <pc:sldMk cId="439380918" sldId="2147482124"/>
        </pc:sldMkLst>
        <pc:spChg chg="mod">
          <ac:chgData name="Lisa Boyette" userId="24cc2e01-2130-4f78-ae8d-8253b197adea" providerId="ADAL" clId="{04D6EC11-0CE4-48F0-B750-BC7D95EBD056}" dt="2024-03-19T02:12:37.901" v="4493" actId="120"/>
          <ac:spMkLst>
            <pc:docMk/>
            <pc:sldMk cId="439380918" sldId="2147482124"/>
            <ac:spMk id="2" creationId="{496BD2AF-537F-0863-6B21-C3F347C044D5}"/>
          </ac:spMkLst>
        </pc:spChg>
        <pc:spChg chg="mod">
          <ac:chgData name="Lisa Boyette" userId="24cc2e01-2130-4f78-ae8d-8253b197adea" providerId="ADAL" clId="{04D6EC11-0CE4-48F0-B750-BC7D95EBD056}" dt="2024-03-18T22:11:52.022" v="853" actId="20577"/>
          <ac:spMkLst>
            <pc:docMk/>
            <pc:sldMk cId="439380918" sldId="2147482124"/>
            <ac:spMk id="5" creationId="{CE3F88AE-2ACE-6A02-4D86-8748FBB62C9A}"/>
          </ac:spMkLst>
        </pc:spChg>
        <pc:spChg chg="del">
          <ac:chgData name="Lisa Boyette" userId="24cc2e01-2130-4f78-ae8d-8253b197adea" providerId="ADAL" clId="{04D6EC11-0CE4-48F0-B750-BC7D95EBD056}" dt="2024-03-18T22:11:31.473" v="834" actId="478"/>
          <ac:spMkLst>
            <pc:docMk/>
            <pc:sldMk cId="439380918" sldId="2147482124"/>
            <ac:spMk id="6" creationId="{CE1410FA-4EB9-D3B1-B5C5-424E6D5A9019}"/>
          </ac:spMkLst>
        </pc:spChg>
        <pc:graphicFrameChg chg="modGraphic">
          <ac:chgData name="Lisa Boyette" userId="24cc2e01-2130-4f78-ae8d-8253b197adea" providerId="ADAL" clId="{04D6EC11-0CE4-48F0-B750-BC7D95EBD056}" dt="2024-03-18T22:09:01.441" v="629" actId="20577"/>
          <ac:graphicFrameMkLst>
            <pc:docMk/>
            <pc:sldMk cId="439380918" sldId="2147482124"/>
            <ac:graphicFrameMk id="7" creationId="{4A8B497E-6009-51BB-B85F-E085698B9FC9}"/>
          </ac:graphicFrameMkLst>
        </pc:graphicFrameChg>
        <pc:graphicFrameChg chg="modGraphic">
          <ac:chgData name="Lisa Boyette" userId="24cc2e01-2130-4f78-ae8d-8253b197adea" providerId="ADAL" clId="{04D6EC11-0CE4-48F0-B750-BC7D95EBD056}" dt="2024-03-19T00:44:33.136" v="1420" actId="20577"/>
          <ac:graphicFrameMkLst>
            <pc:docMk/>
            <pc:sldMk cId="439380918" sldId="2147482124"/>
            <ac:graphicFrameMk id="14" creationId="{DE26E5C6-F73D-578B-44EE-FFEEBD0FE720}"/>
          </ac:graphicFrameMkLst>
        </pc:graphicFrameChg>
        <pc:graphicFrameChg chg="modGraphic">
          <ac:chgData name="Lisa Boyette" userId="24cc2e01-2130-4f78-ae8d-8253b197adea" providerId="ADAL" clId="{04D6EC11-0CE4-48F0-B750-BC7D95EBD056}" dt="2024-03-18T22:10:11.095" v="735" actId="20577"/>
          <ac:graphicFrameMkLst>
            <pc:docMk/>
            <pc:sldMk cId="439380918" sldId="2147482124"/>
            <ac:graphicFrameMk id="47" creationId="{97DE526F-8157-E52B-E0DE-590FA2CEC0F2}"/>
          </ac:graphicFrameMkLst>
        </pc:graphicFrameChg>
      </pc:sldChg>
      <pc:sldChg chg="modSp add mod ord">
        <pc:chgData name="Lisa Boyette" userId="24cc2e01-2130-4f78-ae8d-8253b197adea" providerId="ADAL" clId="{04D6EC11-0CE4-48F0-B750-BC7D95EBD056}" dt="2024-03-21T13:37:47.187" v="9553"/>
        <pc:sldMkLst>
          <pc:docMk/>
          <pc:sldMk cId="2853942534" sldId="2147482124"/>
        </pc:sldMkLst>
        <pc:spChg chg="mod">
          <ac:chgData name="Lisa Boyette" userId="24cc2e01-2130-4f78-ae8d-8253b197adea" providerId="ADAL" clId="{04D6EC11-0CE4-48F0-B750-BC7D95EBD056}" dt="2024-03-19T02:28:09.311" v="4660" actId="255"/>
          <ac:spMkLst>
            <pc:docMk/>
            <pc:sldMk cId="2853942534" sldId="2147482124"/>
            <ac:spMk id="2" creationId="{496BD2AF-537F-0863-6B21-C3F347C044D5}"/>
          </ac:spMkLst>
        </pc:spChg>
      </pc:sldChg>
      <pc:sldChg chg="add del">
        <pc:chgData name="Lisa Boyette" userId="24cc2e01-2130-4f78-ae8d-8253b197adea" providerId="ADAL" clId="{04D6EC11-0CE4-48F0-B750-BC7D95EBD056}" dt="2024-03-19T02:12:19.379" v="4490"/>
        <pc:sldMkLst>
          <pc:docMk/>
          <pc:sldMk cId="60159544" sldId="2147482125"/>
        </pc:sldMkLst>
      </pc:sldChg>
      <pc:sldChg chg="add del">
        <pc:chgData name="Lisa Boyette" userId="24cc2e01-2130-4f78-ae8d-8253b197adea" providerId="ADAL" clId="{04D6EC11-0CE4-48F0-B750-BC7D95EBD056}" dt="2024-03-20T14:33:45.398" v="8555" actId="47"/>
        <pc:sldMkLst>
          <pc:docMk/>
          <pc:sldMk cId="1788471917" sldId="2147482125"/>
        </pc:sldMkLst>
      </pc:sldChg>
      <pc:sldChg chg="del">
        <pc:chgData name="Lisa Boyette" userId="24cc2e01-2130-4f78-ae8d-8253b197adea" providerId="ADAL" clId="{04D6EC11-0CE4-48F0-B750-BC7D95EBD056}" dt="2024-03-19T02:12:06.956" v="4488" actId="2696"/>
        <pc:sldMkLst>
          <pc:docMk/>
          <pc:sldMk cId="3110089001" sldId="2147482125"/>
        </pc:sldMkLst>
      </pc:sldChg>
      <pc:sldChg chg="add del">
        <pc:chgData name="Lisa Boyette" userId="24cc2e01-2130-4f78-ae8d-8253b197adea" providerId="ADAL" clId="{04D6EC11-0CE4-48F0-B750-BC7D95EBD056}" dt="2024-03-19T02:20:24.587" v="4546" actId="2696"/>
        <pc:sldMkLst>
          <pc:docMk/>
          <pc:sldMk cId="3476438304" sldId="2147482125"/>
        </pc:sldMkLst>
      </pc:sldChg>
      <pc:sldChg chg="del">
        <pc:chgData name="Lisa Boyette" userId="24cc2e01-2130-4f78-ae8d-8253b197adea" providerId="ADAL" clId="{04D6EC11-0CE4-48F0-B750-BC7D95EBD056}" dt="2024-03-19T02:12:06.956" v="4488" actId="2696"/>
        <pc:sldMkLst>
          <pc:docMk/>
          <pc:sldMk cId="207251917" sldId="2147482126"/>
        </pc:sldMkLst>
      </pc:sldChg>
      <pc:sldChg chg="add del">
        <pc:chgData name="Lisa Boyette" userId="24cc2e01-2130-4f78-ae8d-8253b197adea" providerId="ADAL" clId="{04D6EC11-0CE4-48F0-B750-BC7D95EBD056}" dt="2024-03-19T02:20:24.587" v="4546" actId="2696"/>
        <pc:sldMkLst>
          <pc:docMk/>
          <pc:sldMk cId="418657802" sldId="2147482126"/>
        </pc:sldMkLst>
      </pc:sldChg>
      <pc:sldChg chg="add del">
        <pc:chgData name="Lisa Boyette" userId="24cc2e01-2130-4f78-ae8d-8253b197adea" providerId="ADAL" clId="{04D6EC11-0CE4-48F0-B750-BC7D95EBD056}" dt="2024-03-19T02:12:19.379" v="4490"/>
        <pc:sldMkLst>
          <pc:docMk/>
          <pc:sldMk cId="1187839964" sldId="2147482126"/>
        </pc:sldMkLst>
      </pc:sldChg>
      <pc:sldChg chg="modSp add del mod modCm">
        <pc:chgData name="Lisa Boyette" userId="24cc2e01-2130-4f78-ae8d-8253b197adea" providerId="ADAL" clId="{04D6EC11-0CE4-48F0-B750-BC7D95EBD056}" dt="2024-03-20T14:33:45.398" v="8555" actId="47"/>
        <pc:sldMkLst>
          <pc:docMk/>
          <pc:sldMk cId="2340784022" sldId="2147482126"/>
        </pc:sldMkLst>
        <pc:spChg chg="mod">
          <ac:chgData name="Lisa Boyette" userId="24cc2e01-2130-4f78-ae8d-8253b197adea" providerId="ADAL" clId="{04D6EC11-0CE4-48F0-B750-BC7D95EBD056}" dt="2024-03-20T02:54:18.404" v="8381" actId="13926"/>
          <ac:spMkLst>
            <pc:docMk/>
            <pc:sldMk cId="2340784022" sldId="2147482126"/>
            <ac:spMk id="2" creationId="{5354029C-42F0-FEBB-4DA3-93088E7981AE}"/>
          </ac:spMkLst>
        </pc:spChg>
      </pc:sldChg>
      <pc:sldChg chg="modSp add del mod">
        <pc:chgData name="Lisa Boyette" userId="24cc2e01-2130-4f78-ae8d-8253b197adea" providerId="ADAL" clId="{04D6EC11-0CE4-48F0-B750-BC7D95EBD056}" dt="2024-03-20T19:07:36.381" v="9024" actId="2696"/>
        <pc:sldMkLst>
          <pc:docMk/>
          <pc:sldMk cId="282995985" sldId="2147482127"/>
        </pc:sldMkLst>
        <pc:graphicFrameChg chg="mod modGraphic">
          <ac:chgData name="Lisa Boyette" userId="24cc2e01-2130-4f78-ae8d-8253b197adea" providerId="ADAL" clId="{04D6EC11-0CE4-48F0-B750-BC7D95EBD056}" dt="2024-03-20T19:04:56.845" v="9018" actId="20577"/>
          <ac:graphicFrameMkLst>
            <pc:docMk/>
            <pc:sldMk cId="282995985" sldId="2147482127"/>
            <ac:graphicFrameMk id="4" creationId="{A4E42C46-3083-19E3-D111-210F42CA16BC}"/>
          </ac:graphicFrameMkLst>
        </pc:graphicFrameChg>
      </pc:sldChg>
      <pc:sldChg chg="modSp add mod">
        <pc:chgData name="Lisa Boyette" userId="24cc2e01-2130-4f78-ae8d-8253b197adea" providerId="ADAL" clId="{04D6EC11-0CE4-48F0-B750-BC7D95EBD056}" dt="2024-03-20T20:18:25.659" v="9096" actId="2062"/>
        <pc:sldMkLst>
          <pc:docMk/>
          <pc:sldMk cId="2962612111" sldId="2147482127"/>
        </pc:sldMkLst>
        <pc:graphicFrameChg chg="modGraphic">
          <ac:chgData name="Lisa Boyette" userId="24cc2e01-2130-4f78-ae8d-8253b197adea" providerId="ADAL" clId="{04D6EC11-0CE4-48F0-B750-BC7D95EBD056}" dt="2024-03-20T20:18:25.659" v="9096" actId="2062"/>
          <ac:graphicFrameMkLst>
            <pc:docMk/>
            <pc:sldMk cId="2962612111" sldId="2147482127"/>
            <ac:graphicFrameMk id="4" creationId="{A4E42C46-3083-19E3-D111-210F42CA16BC}"/>
          </ac:graphicFrameMkLst>
        </pc:graphicFrameChg>
      </pc:sldChg>
      <pc:sldChg chg="del">
        <pc:chgData name="Lisa Boyette" userId="24cc2e01-2130-4f78-ae8d-8253b197adea" providerId="ADAL" clId="{04D6EC11-0CE4-48F0-B750-BC7D95EBD056}" dt="2024-03-19T03:17:08.656" v="7426" actId="2696"/>
        <pc:sldMkLst>
          <pc:docMk/>
          <pc:sldMk cId="3166096869" sldId="2147482127"/>
        </pc:sldMkLst>
      </pc:sldChg>
      <pc:sldChg chg="delSp modSp del mod ord addCm delCm modCm">
        <pc:chgData name="Lisa Boyette" userId="24cc2e01-2130-4f78-ae8d-8253b197adea" providerId="ADAL" clId="{04D6EC11-0CE4-48F0-B750-BC7D95EBD056}" dt="2024-03-20T14:33:36.882" v="8552" actId="47"/>
        <pc:sldMkLst>
          <pc:docMk/>
          <pc:sldMk cId="3450164358" sldId="2147482128"/>
        </pc:sldMkLst>
        <pc:spChg chg="mod">
          <ac:chgData name="Lisa Boyette" userId="24cc2e01-2130-4f78-ae8d-8253b197adea" providerId="ADAL" clId="{04D6EC11-0CE4-48F0-B750-BC7D95EBD056}" dt="2024-03-19T02:27:35.194" v="4653" actId="20577"/>
          <ac:spMkLst>
            <pc:docMk/>
            <pc:sldMk cId="3450164358" sldId="2147482128"/>
            <ac:spMk id="2" creationId="{96787E18-F2A8-4AE7-E9B1-EAC9F7606634}"/>
          </ac:spMkLst>
        </pc:spChg>
        <pc:spChg chg="del">
          <ac:chgData name="Lisa Boyette" userId="24cc2e01-2130-4f78-ae8d-8253b197adea" providerId="ADAL" clId="{04D6EC11-0CE4-48F0-B750-BC7D95EBD056}" dt="2024-03-19T03:19:38.232" v="7438" actId="478"/>
          <ac:spMkLst>
            <pc:docMk/>
            <pc:sldMk cId="3450164358" sldId="2147482128"/>
            <ac:spMk id="6" creationId="{D6EC1548-A7CB-895B-E655-288ECB8612FA}"/>
          </ac:spMkLst>
        </pc:spChg>
        <pc:graphicFrameChg chg="modGraphic">
          <ac:chgData name="Lisa Boyette" userId="24cc2e01-2130-4f78-ae8d-8253b197adea" providerId="ADAL" clId="{04D6EC11-0CE4-48F0-B750-BC7D95EBD056}" dt="2024-03-19T02:20:13.230" v="4544" actId="20577"/>
          <ac:graphicFrameMkLst>
            <pc:docMk/>
            <pc:sldMk cId="3450164358" sldId="2147482128"/>
            <ac:graphicFrameMk id="4" creationId="{BE38E089-BBF7-5339-EF73-F68B7686C21D}"/>
          </ac:graphicFrameMkLst>
        </pc:graphicFrameChg>
      </pc:sldChg>
      <pc:sldChg chg="addSp modSp mod">
        <pc:chgData name="Lisa Boyette" userId="24cc2e01-2130-4f78-ae8d-8253b197adea" providerId="ADAL" clId="{04D6EC11-0CE4-48F0-B750-BC7D95EBD056}" dt="2024-03-19T02:11:18.252" v="4487" actId="14100"/>
        <pc:sldMkLst>
          <pc:docMk/>
          <pc:sldMk cId="322481365" sldId="2147482129"/>
        </pc:sldMkLst>
        <pc:spChg chg="add mod">
          <ac:chgData name="Lisa Boyette" userId="24cc2e01-2130-4f78-ae8d-8253b197adea" providerId="ADAL" clId="{04D6EC11-0CE4-48F0-B750-BC7D95EBD056}" dt="2024-03-19T02:08:52.659" v="4474" actId="1036"/>
          <ac:spMkLst>
            <pc:docMk/>
            <pc:sldMk cId="322481365" sldId="2147482129"/>
            <ac:spMk id="19" creationId="{7BD13D88-0FF3-685E-0BE9-978E91471CAB}"/>
          </ac:spMkLst>
        </pc:spChg>
        <pc:spChg chg="add mod">
          <ac:chgData name="Lisa Boyette" userId="24cc2e01-2130-4f78-ae8d-8253b197adea" providerId="ADAL" clId="{04D6EC11-0CE4-48F0-B750-BC7D95EBD056}" dt="2024-03-19T02:11:01.947" v="4484" actId="1582"/>
          <ac:spMkLst>
            <pc:docMk/>
            <pc:sldMk cId="322481365" sldId="2147482129"/>
            <ac:spMk id="20" creationId="{E82A0783-B746-ED42-D77F-8D87E93612D0}"/>
          </ac:spMkLst>
        </pc:spChg>
        <pc:spChg chg="add mod">
          <ac:chgData name="Lisa Boyette" userId="24cc2e01-2130-4f78-ae8d-8253b197adea" providerId="ADAL" clId="{04D6EC11-0CE4-48F0-B750-BC7D95EBD056}" dt="2024-03-19T02:11:18.252" v="4487" actId="14100"/>
          <ac:spMkLst>
            <pc:docMk/>
            <pc:sldMk cId="322481365" sldId="2147482129"/>
            <ac:spMk id="21" creationId="{2A046457-4467-185A-D177-0891B86E9128}"/>
          </ac:spMkLst>
        </pc:spChg>
        <pc:picChg chg="mod modCrop">
          <ac:chgData name="Lisa Boyette" userId="24cc2e01-2130-4f78-ae8d-8253b197adea" providerId="ADAL" clId="{04D6EC11-0CE4-48F0-B750-BC7D95EBD056}" dt="2024-03-19T02:09:47.767" v="4478" actId="732"/>
          <ac:picMkLst>
            <pc:docMk/>
            <pc:sldMk cId="322481365" sldId="2147482129"/>
            <ac:picMk id="8" creationId="{ECD94D4A-5EC7-699C-9E58-1D6F7FA6DFBB}"/>
          </ac:picMkLst>
        </pc:picChg>
      </pc:sldChg>
      <pc:sldChg chg="addSp delSp modSp new add del mod modClrScheme chgLayout">
        <pc:chgData name="Lisa Boyette" userId="24cc2e01-2130-4f78-ae8d-8253b197adea" providerId="ADAL" clId="{04D6EC11-0CE4-48F0-B750-BC7D95EBD056}" dt="2024-03-19T02:20:52.060" v="4548" actId="2696"/>
        <pc:sldMkLst>
          <pc:docMk/>
          <pc:sldMk cId="880976594" sldId="2147482130"/>
        </pc:sldMkLst>
        <pc:spChg chg="del mod ord">
          <ac:chgData name="Lisa Boyette" userId="24cc2e01-2130-4f78-ae8d-8253b197adea" providerId="ADAL" clId="{04D6EC11-0CE4-48F0-B750-BC7D95EBD056}" dt="2024-03-19T00:45:43.805" v="1425" actId="700"/>
          <ac:spMkLst>
            <pc:docMk/>
            <pc:sldMk cId="880976594" sldId="2147482130"/>
            <ac:spMk id="2" creationId="{9F8BB372-0F91-5EF5-B747-46E38A26D08D}"/>
          </ac:spMkLst>
        </pc:spChg>
        <pc:spChg chg="mod ord">
          <ac:chgData name="Lisa Boyette" userId="24cc2e01-2130-4f78-ae8d-8253b197adea" providerId="ADAL" clId="{04D6EC11-0CE4-48F0-B750-BC7D95EBD056}" dt="2024-03-19T00:46:01.150" v="1427" actId="700"/>
          <ac:spMkLst>
            <pc:docMk/>
            <pc:sldMk cId="880976594" sldId="2147482130"/>
            <ac:spMk id="3" creationId="{858FD7DB-346C-2646-D686-5AA11D4EFCCD}"/>
          </ac:spMkLst>
        </pc:spChg>
        <pc:spChg chg="add del">
          <ac:chgData name="Lisa Boyette" userId="24cc2e01-2130-4f78-ae8d-8253b197adea" providerId="ADAL" clId="{04D6EC11-0CE4-48F0-B750-BC7D95EBD056}" dt="2024-03-19T00:45:39.180" v="1424" actId="22"/>
          <ac:spMkLst>
            <pc:docMk/>
            <pc:sldMk cId="880976594" sldId="2147482130"/>
            <ac:spMk id="5" creationId="{3B1765CA-017F-356E-C1C2-AEBA66C3A57C}"/>
          </ac:spMkLst>
        </pc:spChg>
        <pc:spChg chg="add del mod ord">
          <ac:chgData name="Lisa Boyette" userId="24cc2e01-2130-4f78-ae8d-8253b197adea" providerId="ADAL" clId="{04D6EC11-0CE4-48F0-B750-BC7D95EBD056}" dt="2024-03-19T00:45:53.675" v="1426" actId="700"/>
          <ac:spMkLst>
            <pc:docMk/>
            <pc:sldMk cId="880976594" sldId="2147482130"/>
            <ac:spMk id="6" creationId="{34ECC002-6DCB-65B3-54B2-66E51C52A8D7}"/>
          </ac:spMkLst>
        </pc:spChg>
        <pc:spChg chg="add del mod ord">
          <ac:chgData name="Lisa Boyette" userId="24cc2e01-2130-4f78-ae8d-8253b197adea" providerId="ADAL" clId="{04D6EC11-0CE4-48F0-B750-BC7D95EBD056}" dt="2024-03-19T00:46:01.150" v="1427" actId="700"/>
          <ac:spMkLst>
            <pc:docMk/>
            <pc:sldMk cId="880976594" sldId="2147482130"/>
            <ac:spMk id="7" creationId="{65094A71-CBBD-008B-BE33-9391093E1A38}"/>
          </ac:spMkLst>
        </pc:spChg>
        <pc:spChg chg="add del mod ord">
          <ac:chgData name="Lisa Boyette" userId="24cc2e01-2130-4f78-ae8d-8253b197adea" providerId="ADAL" clId="{04D6EC11-0CE4-48F0-B750-BC7D95EBD056}" dt="2024-03-19T00:46:01.150" v="1427" actId="700"/>
          <ac:spMkLst>
            <pc:docMk/>
            <pc:sldMk cId="880976594" sldId="2147482130"/>
            <ac:spMk id="8" creationId="{03641B98-5BD1-6920-4411-3121BCBC9F22}"/>
          </ac:spMkLst>
        </pc:spChg>
        <pc:spChg chg="add mod ord">
          <ac:chgData name="Lisa Boyette" userId="24cc2e01-2130-4f78-ae8d-8253b197adea" providerId="ADAL" clId="{04D6EC11-0CE4-48F0-B750-BC7D95EBD056}" dt="2024-03-19T00:47:13.547" v="1547" actId="20577"/>
          <ac:spMkLst>
            <pc:docMk/>
            <pc:sldMk cId="880976594" sldId="2147482130"/>
            <ac:spMk id="9" creationId="{58C85E7D-509B-FD88-AB7F-74F76DADAC46}"/>
          </ac:spMkLst>
        </pc:spChg>
        <pc:spChg chg="add mod ord">
          <ac:chgData name="Lisa Boyette" userId="24cc2e01-2130-4f78-ae8d-8253b197adea" providerId="ADAL" clId="{04D6EC11-0CE4-48F0-B750-BC7D95EBD056}" dt="2024-03-19T00:46:03.311" v="1428"/>
          <ac:spMkLst>
            <pc:docMk/>
            <pc:sldMk cId="880976594" sldId="2147482130"/>
            <ac:spMk id="10" creationId="{EB19EFDB-B495-5E2D-8C0F-A4CD4799D8B2}"/>
          </ac:spMkLst>
        </pc:spChg>
      </pc:sldChg>
      <pc:sldChg chg="addSp delSp modSp add mod">
        <pc:chgData name="Lisa Boyette" userId="24cc2e01-2130-4f78-ae8d-8253b197adea" providerId="ADAL" clId="{04D6EC11-0CE4-48F0-B750-BC7D95EBD056}" dt="2024-03-21T13:40:18.484" v="9618" actId="1076"/>
        <pc:sldMkLst>
          <pc:docMk/>
          <pc:sldMk cId="3407814504" sldId="2147482130"/>
        </pc:sldMkLst>
        <pc:spChg chg="add del">
          <ac:chgData name="Lisa Boyette" userId="24cc2e01-2130-4f78-ae8d-8253b197adea" providerId="ADAL" clId="{04D6EC11-0CE4-48F0-B750-BC7D95EBD056}" dt="2024-03-21T13:39:55.028" v="9601" actId="22"/>
          <ac:spMkLst>
            <pc:docMk/>
            <pc:sldMk cId="3407814504" sldId="2147482130"/>
            <ac:spMk id="4" creationId="{878DAD17-D4DC-1D58-E87E-174BA62C576D}"/>
          </ac:spMkLst>
        </pc:spChg>
        <pc:spChg chg="add mod">
          <ac:chgData name="Lisa Boyette" userId="24cc2e01-2130-4f78-ae8d-8253b197adea" providerId="ADAL" clId="{04D6EC11-0CE4-48F0-B750-BC7D95EBD056}" dt="2024-03-21T13:40:18.484" v="9618" actId="1076"/>
          <ac:spMkLst>
            <pc:docMk/>
            <pc:sldMk cId="3407814504" sldId="2147482130"/>
            <ac:spMk id="5" creationId="{BBA0BE4F-05FB-0F71-466C-691697317170}"/>
          </ac:spMkLst>
        </pc:spChg>
        <pc:spChg chg="mod">
          <ac:chgData name="Lisa Boyette" userId="24cc2e01-2130-4f78-ae8d-8253b197adea" providerId="ADAL" clId="{04D6EC11-0CE4-48F0-B750-BC7D95EBD056}" dt="2024-03-19T03:21:33.597" v="7495" actId="20577"/>
          <ac:spMkLst>
            <pc:docMk/>
            <pc:sldMk cId="3407814504" sldId="2147482130"/>
            <ac:spMk id="10" creationId="{EB19EFDB-B495-5E2D-8C0F-A4CD4799D8B2}"/>
          </ac:spMkLst>
        </pc:spChg>
      </pc:sldChg>
      <pc:sldChg chg="add del">
        <pc:chgData name="Lisa Boyette" userId="24cc2e01-2130-4f78-ae8d-8253b197adea" providerId="ADAL" clId="{04D6EC11-0CE4-48F0-B750-BC7D95EBD056}" dt="2024-03-19T02:19:59.937" v="4531"/>
        <pc:sldMkLst>
          <pc:docMk/>
          <pc:sldMk cId="3988579126" sldId="2147482130"/>
        </pc:sldMkLst>
      </pc:sldChg>
      <pc:sldChg chg="addSp delSp modSp add del mod">
        <pc:chgData name="Lisa Boyette" userId="24cc2e01-2130-4f78-ae8d-8253b197adea" providerId="ADAL" clId="{04D6EC11-0CE4-48F0-B750-BC7D95EBD056}" dt="2024-03-20T14:33:36.882" v="8552" actId="47"/>
        <pc:sldMkLst>
          <pc:docMk/>
          <pc:sldMk cId="100062757" sldId="2147482131"/>
        </pc:sldMkLst>
        <pc:spChg chg="mod">
          <ac:chgData name="Lisa Boyette" userId="24cc2e01-2130-4f78-ae8d-8253b197adea" providerId="ADAL" clId="{04D6EC11-0CE4-48F0-B750-BC7D95EBD056}" dt="2024-03-19T01:59:20.723" v="4279" actId="20577"/>
          <ac:spMkLst>
            <pc:docMk/>
            <pc:sldMk cId="100062757" sldId="2147482131"/>
            <ac:spMk id="2" creationId="{016F2E9B-B2D2-418E-AAE5-923914D682FE}"/>
          </ac:spMkLst>
        </pc:spChg>
        <pc:spChg chg="del">
          <ac:chgData name="Lisa Boyette" userId="24cc2e01-2130-4f78-ae8d-8253b197adea" providerId="ADAL" clId="{04D6EC11-0CE4-48F0-B750-BC7D95EBD056}" dt="2024-03-19T02:03:27.693" v="4309" actId="478"/>
          <ac:spMkLst>
            <pc:docMk/>
            <pc:sldMk cId="100062757" sldId="2147482131"/>
            <ac:spMk id="23" creationId="{3019BE52-C95B-4549-9ECC-D11F4430A930}"/>
          </ac:spMkLst>
        </pc:spChg>
        <pc:spChg chg="del">
          <ac:chgData name="Lisa Boyette" userId="24cc2e01-2130-4f78-ae8d-8253b197adea" providerId="ADAL" clId="{04D6EC11-0CE4-48F0-B750-BC7D95EBD056}" dt="2024-03-19T02:03:27.693" v="4309" actId="478"/>
          <ac:spMkLst>
            <pc:docMk/>
            <pc:sldMk cId="100062757" sldId="2147482131"/>
            <ac:spMk id="24" creationId="{0845C46C-470E-42B5-B9ED-D5A971C24AE7}"/>
          </ac:spMkLst>
        </pc:spChg>
        <pc:spChg chg="del">
          <ac:chgData name="Lisa Boyette" userId="24cc2e01-2130-4f78-ae8d-8253b197adea" providerId="ADAL" clId="{04D6EC11-0CE4-48F0-B750-BC7D95EBD056}" dt="2024-03-19T02:03:27.693" v="4309" actId="478"/>
          <ac:spMkLst>
            <pc:docMk/>
            <pc:sldMk cId="100062757" sldId="2147482131"/>
            <ac:spMk id="25" creationId="{05668B2D-4CD6-4468-9E2E-FCA9C62C0A7F}"/>
          </ac:spMkLst>
        </pc:spChg>
        <pc:spChg chg="mod">
          <ac:chgData name="Lisa Boyette" userId="24cc2e01-2130-4f78-ae8d-8253b197adea" providerId="ADAL" clId="{04D6EC11-0CE4-48F0-B750-BC7D95EBD056}" dt="2024-03-19T02:01:58.427" v="4300" actId="122"/>
          <ac:spMkLst>
            <pc:docMk/>
            <pc:sldMk cId="100062757" sldId="2147482131"/>
            <ac:spMk id="26" creationId="{EEECE02F-844A-496B-B9F8-EB80DC6E495E}"/>
          </ac:spMkLst>
        </pc:spChg>
        <pc:spChg chg="del mod">
          <ac:chgData name="Lisa Boyette" userId="24cc2e01-2130-4f78-ae8d-8253b197adea" providerId="ADAL" clId="{04D6EC11-0CE4-48F0-B750-BC7D95EBD056}" dt="2024-03-19T02:01:27.075" v="4294" actId="478"/>
          <ac:spMkLst>
            <pc:docMk/>
            <pc:sldMk cId="100062757" sldId="2147482131"/>
            <ac:spMk id="27" creationId="{D9ED5308-411E-4CC1-A122-5ADF414CC7AA}"/>
          </ac:spMkLst>
        </pc:spChg>
        <pc:spChg chg="del">
          <ac:chgData name="Lisa Boyette" userId="24cc2e01-2130-4f78-ae8d-8253b197adea" providerId="ADAL" clId="{04D6EC11-0CE4-48F0-B750-BC7D95EBD056}" dt="2024-03-19T01:59:29.663" v="4280" actId="478"/>
          <ac:spMkLst>
            <pc:docMk/>
            <pc:sldMk cId="100062757" sldId="2147482131"/>
            <ac:spMk id="28" creationId="{EB9993C8-B332-470F-89CB-B653F9A3CE35}"/>
          </ac:spMkLst>
        </pc:spChg>
        <pc:spChg chg="mod">
          <ac:chgData name="Lisa Boyette" userId="24cc2e01-2130-4f78-ae8d-8253b197adea" providerId="ADAL" clId="{04D6EC11-0CE4-48F0-B750-BC7D95EBD056}" dt="2024-03-19T02:31:29.369" v="4752" actId="20577"/>
          <ac:spMkLst>
            <pc:docMk/>
            <pc:sldMk cId="100062757" sldId="2147482131"/>
            <ac:spMk id="32" creationId="{36B39F7A-C195-4A1D-8F05-4C31F06C9D6B}"/>
          </ac:spMkLst>
        </pc:spChg>
        <pc:spChg chg="mod">
          <ac:chgData name="Lisa Boyette" userId="24cc2e01-2130-4f78-ae8d-8253b197adea" providerId="ADAL" clId="{04D6EC11-0CE4-48F0-B750-BC7D95EBD056}" dt="2024-03-19T02:05:28.084" v="4355" actId="14100"/>
          <ac:spMkLst>
            <pc:docMk/>
            <pc:sldMk cId="100062757" sldId="2147482131"/>
            <ac:spMk id="44" creationId="{B24092AC-D30C-8F2A-8CA8-9974D7F304A1}"/>
          </ac:spMkLst>
        </pc:spChg>
        <pc:spChg chg="mod">
          <ac:chgData name="Lisa Boyette" userId="24cc2e01-2130-4f78-ae8d-8253b197adea" providerId="ADAL" clId="{04D6EC11-0CE4-48F0-B750-BC7D95EBD056}" dt="2024-03-19T02:31:11.648" v="4743" actId="6549"/>
          <ac:spMkLst>
            <pc:docMk/>
            <pc:sldMk cId="100062757" sldId="2147482131"/>
            <ac:spMk id="45" creationId="{D52B04B1-CF05-DA5D-0EC2-1F1AF326C6EC}"/>
          </ac:spMkLst>
        </pc:spChg>
        <pc:spChg chg="del">
          <ac:chgData name="Lisa Boyette" userId="24cc2e01-2130-4f78-ae8d-8253b197adea" providerId="ADAL" clId="{04D6EC11-0CE4-48F0-B750-BC7D95EBD056}" dt="2024-03-19T02:02:03.121" v="4301" actId="478"/>
          <ac:spMkLst>
            <pc:docMk/>
            <pc:sldMk cId="100062757" sldId="2147482131"/>
            <ac:spMk id="46" creationId="{CCED335F-4CE7-1C08-37FA-A5BAC0ACB447}"/>
          </ac:spMkLst>
        </pc:spChg>
        <pc:spChg chg="del">
          <ac:chgData name="Lisa Boyette" userId="24cc2e01-2130-4f78-ae8d-8253b197adea" providerId="ADAL" clId="{04D6EC11-0CE4-48F0-B750-BC7D95EBD056}" dt="2024-03-19T01:59:32.972" v="4281" actId="478"/>
          <ac:spMkLst>
            <pc:docMk/>
            <pc:sldMk cId="100062757" sldId="2147482131"/>
            <ac:spMk id="47" creationId="{5A085EB5-4510-5870-2C95-424EE86D1F65}"/>
          </ac:spMkLst>
        </pc:spChg>
        <pc:spChg chg="mod">
          <ac:chgData name="Lisa Boyette" userId="24cc2e01-2130-4f78-ae8d-8253b197adea" providerId="ADAL" clId="{04D6EC11-0CE4-48F0-B750-BC7D95EBD056}" dt="2024-03-19T02:03:43.222" v="4334" actId="20577"/>
          <ac:spMkLst>
            <pc:docMk/>
            <pc:sldMk cId="100062757" sldId="2147482131"/>
            <ac:spMk id="50" creationId="{0ACD347F-84E1-4612-B528-4F13B4D77FF3}"/>
          </ac:spMkLst>
        </pc:spChg>
        <pc:spChg chg="mod">
          <ac:chgData name="Lisa Boyette" userId="24cc2e01-2130-4f78-ae8d-8253b197adea" providerId="ADAL" clId="{04D6EC11-0CE4-48F0-B750-BC7D95EBD056}" dt="2024-03-19T02:31:13.240" v="4744" actId="6549"/>
          <ac:spMkLst>
            <pc:docMk/>
            <pc:sldMk cId="100062757" sldId="2147482131"/>
            <ac:spMk id="51" creationId="{690DC254-042A-AFB3-AA75-9FFFFC480C48}"/>
          </ac:spMkLst>
        </pc:spChg>
        <pc:spChg chg="add del">
          <ac:chgData name="Lisa Boyette" userId="24cc2e01-2130-4f78-ae8d-8253b197adea" providerId="ADAL" clId="{04D6EC11-0CE4-48F0-B750-BC7D95EBD056}" dt="2024-03-19T02:01:32.969" v="4296" actId="22"/>
          <ac:spMkLst>
            <pc:docMk/>
            <pc:sldMk cId="100062757" sldId="2147482131"/>
            <ac:spMk id="54" creationId="{CAF67883-ACFA-7E72-4777-0F76ED7953B9}"/>
          </ac:spMkLst>
        </pc:spChg>
        <pc:spChg chg="add mod">
          <ac:chgData name="Lisa Boyette" userId="24cc2e01-2130-4f78-ae8d-8253b197adea" providerId="ADAL" clId="{04D6EC11-0CE4-48F0-B750-BC7D95EBD056}" dt="2024-03-19T02:27:01.605" v="4644" actId="164"/>
          <ac:spMkLst>
            <pc:docMk/>
            <pc:sldMk cId="100062757" sldId="2147482131"/>
            <ac:spMk id="58" creationId="{4D1498D9-9C09-B8B5-2FF5-57F830525D44}"/>
          </ac:spMkLst>
        </pc:spChg>
        <pc:spChg chg="mod">
          <ac:chgData name="Lisa Boyette" userId="24cc2e01-2130-4f78-ae8d-8253b197adea" providerId="ADAL" clId="{04D6EC11-0CE4-48F0-B750-BC7D95EBD056}" dt="2024-03-19T02:03:34.332" v="4310" actId="164"/>
          <ac:spMkLst>
            <pc:docMk/>
            <pc:sldMk cId="100062757" sldId="2147482131"/>
            <ac:spMk id="59" creationId="{908C2FC7-B102-6DEA-2161-EFCED16DEBB1}"/>
          </ac:spMkLst>
        </pc:spChg>
        <pc:spChg chg="add mod">
          <ac:chgData name="Lisa Boyette" userId="24cc2e01-2130-4f78-ae8d-8253b197adea" providerId="ADAL" clId="{04D6EC11-0CE4-48F0-B750-BC7D95EBD056}" dt="2024-03-19T02:27:01.605" v="4644" actId="164"/>
          <ac:spMkLst>
            <pc:docMk/>
            <pc:sldMk cId="100062757" sldId="2147482131"/>
            <ac:spMk id="66" creationId="{3C038AC3-82F6-2150-715E-03F22778E381}"/>
          </ac:spMkLst>
        </pc:spChg>
        <pc:spChg chg="mod">
          <ac:chgData name="Lisa Boyette" userId="24cc2e01-2130-4f78-ae8d-8253b197adea" providerId="ADAL" clId="{04D6EC11-0CE4-48F0-B750-BC7D95EBD056}" dt="2024-03-19T02:03:34.332" v="4310" actId="164"/>
          <ac:spMkLst>
            <pc:docMk/>
            <pc:sldMk cId="100062757" sldId="2147482131"/>
            <ac:spMk id="70" creationId="{988AF205-54C0-E389-DAA0-31D2C316EF80}"/>
          </ac:spMkLst>
        </pc:spChg>
        <pc:grpChg chg="mod">
          <ac:chgData name="Lisa Boyette" userId="24cc2e01-2130-4f78-ae8d-8253b197adea" providerId="ADAL" clId="{04D6EC11-0CE4-48F0-B750-BC7D95EBD056}" dt="2024-03-19T02:05:33.950" v="4356" actId="1076"/>
          <ac:grpSpMkLst>
            <pc:docMk/>
            <pc:sldMk cId="100062757" sldId="2147482131"/>
            <ac:grpSpMk id="5" creationId="{46830DB6-D408-981B-2ED1-84CA82211DDC}"/>
          </ac:grpSpMkLst>
        </pc:grpChg>
        <pc:grpChg chg="mod">
          <ac:chgData name="Lisa Boyette" userId="24cc2e01-2130-4f78-ae8d-8253b197adea" providerId="ADAL" clId="{04D6EC11-0CE4-48F0-B750-BC7D95EBD056}" dt="2024-03-19T02:03:34.332" v="4310" actId="164"/>
          <ac:grpSpMkLst>
            <pc:docMk/>
            <pc:sldMk cId="100062757" sldId="2147482131"/>
            <ac:grpSpMk id="6" creationId="{BEFBE8E9-38B6-9471-B57B-AD3ECF2B9E5A}"/>
          </ac:grpSpMkLst>
        </pc:grpChg>
        <pc:grpChg chg="add mod">
          <ac:chgData name="Lisa Boyette" userId="24cc2e01-2130-4f78-ae8d-8253b197adea" providerId="ADAL" clId="{04D6EC11-0CE4-48F0-B750-BC7D95EBD056}" dt="2024-03-19T02:03:36.728" v="4333" actId="1035"/>
          <ac:grpSpMkLst>
            <pc:docMk/>
            <pc:sldMk cId="100062757" sldId="2147482131"/>
            <ac:grpSpMk id="57" creationId="{702BFBE5-D6E1-11B6-F019-6320A6C25039}"/>
          </ac:grpSpMkLst>
        </pc:grpChg>
        <pc:grpChg chg="mod">
          <ac:chgData name="Lisa Boyette" userId="24cc2e01-2130-4f78-ae8d-8253b197adea" providerId="ADAL" clId="{04D6EC11-0CE4-48F0-B750-BC7D95EBD056}" dt="2024-03-19T02:03:34.332" v="4310" actId="164"/>
          <ac:grpSpMkLst>
            <pc:docMk/>
            <pc:sldMk cId="100062757" sldId="2147482131"/>
            <ac:grpSpMk id="65" creationId="{2B6DE642-A6CB-E231-7685-51F7A17E1B14}"/>
          </ac:grpSpMkLst>
        </pc:grpChg>
        <pc:grpChg chg="add mod">
          <ac:chgData name="Lisa Boyette" userId="24cc2e01-2130-4f78-ae8d-8253b197adea" providerId="ADAL" clId="{04D6EC11-0CE4-48F0-B750-BC7D95EBD056}" dt="2024-03-19T02:27:01.605" v="4644" actId="164"/>
          <ac:grpSpMkLst>
            <pc:docMk/>
            <pc:sldMk cId="100062757" sldId="2147482131"/>
            <ac:grpSpMk id="68" creationId="{86DFBB87-BAE4-F21C-ED29-220764A57083}"/>
          </ac:grpSpMkLst>
        </pc:grpChg>
        <pc:cxnChg chg="mod">
          <ac:chgData name="Lisa Boyette" userId="24cc2e01-2130-4f78-ae8d-8253b197adea" providerId="ADAL" clId="{04D6EC11-0CE4-48F0-B750-BC7D95EBD056}" dt="2024-03-19T02:03:34.332" v="4310" actId="164"/>
          <ac:cxnSpMkLst>
            <pc:docMk/>
            <pc:sldMk cId="100062757" sldId="2147482131"/>
            <ac:cxnSpMk id="67" creationId="{16883489-5679-520A-32F1-EFE73CDA0345}"/>
          </ac:cxnSpMkLst>
        </pc:cxnChg>
        <pc:cxnChg chg="add mod">
          <ac:chgData name="Lisa Boyette" userId="24cc2e01-2130-4f78-ae8d-8253b197adea" providerId="ADAL" clId="{04D6EC11-0CE4-48F0-B750-BC7D95EBD056}" dt="2024-03-19T02:31:15.777" v="4745"/>
          <ac:cxnSpMkLst>
            <pc:docMk/>
            <pc:sldMk cId="100062757" sldId="2147482131"/>
            <ac:cxnSpMk id="69" creationId="{ABD355BD-AE1F-C73C-FB3E-22A9D3BD2D64}"/>
          </ac:cxnSpMkLst>
        </pc:cxnChg>
        <pc:cxnChg chg="add mod">
          <ac:chgData name="Lisa Boyette" userId="24cc2e01-2130-4f78-ae8d-8253b197adea" providerId="ADAL" clId="{04D6EC11-0CE4-48F0-B750-BC7D95EBD056}" dt="2024-03-19T02:31:15.777" v="4745"/>
          <ac:cxnSpMkLst>
            <pc:docMk/>
            <pc:sldMk cId="100062757" sldId="2147482131"/>
            <ac:cxnSpMk id="71" creationId="{4166A0D0-9EE6-05BF-CD69-87935EB3E14B}"/>
          </ac:cxnSpMkLst>
        </pc:cxnChg>
      </pc:sldChg>
      <pc:sldChg chg="addSp delSp modSp add del mod">
        <pc:chgData name="Lisa Boyette" userId="24cc2e01-2130-4f78-ae8d-8253b197adea" providerId="ADAL" clId="{04D6EC11-0CE4-48F0-B750-BC7D95EBD056}" dt="2024-03-19T01:32:16.743" v="3826" actId="2696"/>
        <pc:sldMkLst>
          <pc:docMk/>
          <pc:sldMk cId="637408280" sldId="2147482131"/>
        </pc:sldMkLst>
        <pc:spChg chg="mod">
          <ac:chgData name="Lisa Boyette" userId="24cc2e01-2130-4f78-ae8d-8253b197adea" providerId="ADAL" clId="{04D6EC11-0CE4-48F0-B750-BC7D95EBD056}" dt="2024-03-19T01:31:11.898" v="3729" actId="20577"/>
          <ac:spMkLst>
            <pc:docMk/>
            <pc:sldMk cId="637408280" sldId="2147482131"/>
            <ac:spMk id="2" creationId="{016F2E9B-B2D2-418E-AAE5-923914D682FE}"/>
          </ac:spMkLst>
        </pc:spChg>
        <pc:spChg chg="add mod">
          <ac:chgData name="Lisa Boyette" userId="24cc2e01-2130-4f78-ae8d-8253b197adea" providerId="ADAL" clId="{04D6EC11-0CE4-48F0-B750-BC7D95EBD056}" dt="2024-03-19T01:31:37.226" v="3775" actId="1035"/>
          <ac:spMkLst>
            <pc:docMk/>
            <pc:sldMk cId="637408280" sldId="2147482131"/>
            <ac:spMk id="10" creationId="{77110244-646F-9539-E10C-6A031E745C29}"/>
          </ac:spMkLst>
        </pc:spChg>
        <pc:spChg chg="del mod">
          <ac:chgData name="Lisa Boyette" userId="24cc2e01-2130-4f78-ae8d-8253b197adea" providerId="ADAL" clId="{04D6EC11-0CE4-48F0-B750-BC7D95EBD056}" dt="2024-03-19T01:31:31.153" v="3732" actId="478"/>
          <ac:spMkLst>
            <pc:docMk/>
            <pc:sldMk cId="637408280" sldId="2147482131"/>
            <ac:spMk id="26" creationId="{EEECE02F-844A-496B-B9F8-EB80DC6E495E}"/>
          </ac:spMkLst>
        </pc:spChg>
        <pc:spChg chg="mod">
          <ac:chgData name="Lisa Boyette" userId="24cc2e01-2130-4f78-ae8d-8253b197adea" providerId="ADAL" clId="{04D6EC11-0CE4-48F0-B750-BC7D95EBD056}" dt="2024-03-19T01:32:05.191" v="3825" actId="20577"/>
          <ac:spMkLst>
            <pc:docMk/>
            <pc:sldMk cId="637408280" sldId="2147482131"/>
            <ac:spMk id="50" creationId="{0ACD347F-84E1-4612-B528-4F13B4D77FF3}"/>
          </ac:spMkLst>
        </pc:spChg>
      </pc:sldChg>
      <pc:sldChg chg="delSp add del mod">
        <pc:chgData name="Lisa Boyette" userId="24cc2e01-2130-4f78-ae8d-8253b197adea" providerId="ADAL" clId="{04D6EC11-0CE4-48F0-B750-BC7D95EBD056}" dt="2024-03-19T01:59:11.390" v="4270" actId="47"/>
        <pc:sldMkLst>
          <pc:docMk/>
          <pc:sldMk cId="2584596834" sldId="2147482131"/>
        </pc:sldMkLst>
        <pc:spChg chg="del">
          <ac:chgData name="Lisa Boyette" userId="24cc2e01-2130-4f78-ae8d-8253b197adea" providerId="ADAL" clId="{04D6EC11-0CE4-48F0-B750-BC7D95EBD056}" dt="2024-03-19T01:34:20.802" v="3937" actId="478"/>
          <ac:spMkLst>
            <pc:docMk/>
            <pc:sldMk cId="2584596834" sldId="2147482131"/>
            <ac:spMk id="23" creationId="{3019BE52-C95B-4549-9ECC-D11F4430A930}"/>
          </ac:spMkLst>
        </pc:spChg>
        <pc:spChg chg="del">
          <ac:chgData name="Lisa Boyette" userId="24cc2e01-2130-4f78-ae8d-8253b197adea" providerId="ADAL" clId="{04D6EC11-0CE4-48F0-B750-BC7D95EBD056}" dt="2024-03-19T01:34:20.802" v="3937" actId="478"/>
          <ac:spMkLst>
            <pc:docMk/>
            <pc:sldMk cId="2584596834" sldId="2147482131"/>
            <ac:spMk id="24" creationId="{0845C46C-470E-42B5-B9ED-D5A971C24AE7}"/>
          </ac:spMkLst>
        </pc:spChg>
        <pc:spChg chg="del">
          <ac:chgData name="Lisa Boyette" userId="24cc2e01-2130-4f78-ae8d-8253b197adea" providerId="ADAL" clId="{04D6EC11-0CE4-48F0-B750-BC7D95EBD056}" dt="2024-03-19T01:34:20.802" v="3937" actId="478"/>
          <ac:spMkLst>
            <pc:docMk/>
            <pc:sldMk cId="2584596834" sldId="2147482131"/>
            <ac:spMk id="25" creationId="{05668B2D-4CD6-4468-9E2E-FCA9C62C0A7F}"/>
          </ac:spMkLst>
        </pc:spChg>
      </pc:sldChg>
      <pc:sldChg chg="modSp add del mod">
        <pc:chgData name="Lisa Boyette" userId="24cc2e01-2130-4f78-ae8d-8253b197adea" providerId="ADAL" clId="{04D6EC11-0CE4-48F0-B750-BC7D95EBD056}" dt="2024-03-19T02:27:54.036" v="4656" actId="2696"/>
        <pc:sldMkLst>
          <pc:docMk/>
          <pc:sldMk cId="1870875284" sldId="2147482132"/>
        </pc:sldMkLst>
        <pc:spChg chg="mod">
          <ac:chgData name="Lisa Boyette" userId="24cc2e01-2130-4f78-ae8d-8253b197adea" providerId="ADAL" clId="{04D6EC11-0CE4-48F0-B750-BC7D95EBD056}" dt="2024-03-19T02:13:28.929" v="4515" actId="20577"/>
          <ac:spMkLst>
            <pc:docMk/>
            <pc:sldMk cId="1870875284" sldId="2147482132"/>
            <ac:spMk id="2" creationId="{3D321EFC-5E8A-9953-7B24-8FEBE70A13E4}"/>
          </ac:spMkLst>
        </pc:spChg>
      </pc:sldChg>
      <pc:sldChg chg="add del">
        <pc:chgData name="Lisa Boyette" userId="24cc2e01-2130-4f78-ae8d-8253b197adea" providerId="ADAL" clId="{04D6EC11-0CE4-48F0-B750-BC7D95EBD056}" dt="2024-03-19T02:28:00.871" v="4658"/>
        <pc:sldMkLst>
          <pc:docMk/>
          <pc:sldMk cId="2507000945" sldId="2147482132"/>
        </pc:sldMkLst>
      </pc:sldChg>
      <pc:sldChg chg="modSp add mod">
        <pc:chgData name="Lisa Boyette" userId="24cc2e01-2130-4f78-ae8d-8253b197adea" providerId="ADAL" clId="{04D6EC11-0CE4-48F0-B750-BC7D95EBD056}" dt="2024-03-21T13:49:37.825" v="10339" actId="13926"/>
        <pc:sldMkLst>
          <pc:docMk/>
          <pc:sldMk cId="3187643702" sldId="2147482132"/>
        </pc:sldMkLst>
        <pc:spChg chg="mod">
          <ac:chgData name="Lisa Boyette" userId="24cc2e01-2130-4f78-ae8d-8253b197adea" providerId="ADAL" clId="{04D6EC11-0CE4-48F0-B750-BC7D95EBD056}" dt="2024-03-21T13:49:37.825" v="10339" actId="13926"/>
          <ac:spMkLst>
            <pc:docMk/>
            <pc:sldMk cId="3187643702" sldId="2147482132"/>
            <ac:spMk id="2" creationId="{3D321EFC-5E8A-9953-7B24-8FEBE70A13E4}"/>
          </ac:spMkLst>
        </pc:spChg>
      </pc:sldChg>
      <pc:sldChg chg="modSp add del mod">
        <pc:chgData name="Lisa Boyette" userId="24cc2e01-2130-4f78-ae8d-8253b197adea" providerId="ADAL" clId="{04D6EC11-0CE4-48F0-B750-BC7D95EBD056}" dt="2024-03-20T14:33:14.528" v="8549" actId="47"/>
        <pc:sldMkLst>
          <pc:docMk/>
          <pc:sldMk cId="3121948248" sldId="2147482133"/>
        </pc:sldMkLst>
        <pc:spChg chg="mod">
          <ac:chgData name="Lisa Boyette" userId="24cc2e01-2130-4f78-ae8d-8253b197adea" providerId="ADAL" clId="{04D6EC11-0CE4-48F0-B750-BC7D95EBD056}" dt="2024-03-19T03:18:38.267" v="7436" actId="20577"/>
          <ac:spMkLst>
            <pc:docMk/>
            <pc:sldMk cId="3121948248" sldId="2147482133"/>
            <ac:spMk id="3" creationId="{71B74FEB-1A2D-FF9C-BA35-C7DAD4E39E8F}"/>
          </ac:spMkLst>
        </pc:spChg>
      </pc:sldChg>
      <pc:sldChg chg="modSp add del mod">
        <pc:chgData name="Lisa Boyette" userId="24cc2e01-2130-4f78-ae8d-8253b197adea" providerId="ADAL" clId="{04D6EC11-0CE4-48F0-B750-BC7D95EBD056}" dt="2024-03-20T14:33:50.214" v="8557" actId="47"/>
        <pc:sldMkLst>
          <pc:docMk/>
          <pc:sldMk cId="1883451686" sldId="2147482134"/>
        </pc:sldMkLst>
        <pc:spChg chg="mod">
          <ac:chgData name="Lisa Boyette" userId="24cc2e01-2130-4f78-ae8d-8253b197adea" providerId="ADAL" clId="{04D6EC11-0CE4-48F0-B750-BC7D95EBD056}" dt="2024-03-19T02:59:28.535" v="7058" actId="20577"/>
          <ac:spMkLst>
            <pc:docMk/>
            <pc:sldMk cId="1883451686" sldId="2147482134"/>
            <ac:spMk id="2" creationId="{3D321EFC-5E8A-9953-7B24-8FEBE70A13E4}"/>
          </ac:spMkLst>
        </pc:spChg>
      </pc:sldChg>
      <pc:sldChg chg="modSp add del mod">
        <pc:chgData name="Lisa Boyette" userId="24cc2e01-2130-4f78-ae8d-8253b197adea" providerId="ADAL" clId="{04D6EC11-0CE4-48F0-B750-BC7D95EBD056}" dt="2024-03-20T14:40:05.743" v="8624" actId="47"/>
        <pc:sldMkLst>
          <pc:docMk/>
          <pc:sldMk cId="3391896313" sldId="2147482135"/>
        </pc:sldMkLst>
        <pc:spChg chg="mod">
          <ac:chgData name="Lisa Boyette" userId="24cc2e01-2130-4f78-ae8d-8253b197adea" providerId="ADAL" clId="{04D6EC11-0CE4-48F0-B750-BC7D95EBD056}" dt="2024-03-19T03:16:31.149" v="7400" actId="20577"/>
          <ac:spMkLst>
            <pc:docMk/>
            <pc:sldMk cId="3391896313" sldId="2147482135"/>
            <ac:spMk id="2" creationId="{09E52552-3E82-EBF0-C465-E29FBFA71F99}"/>
          </ac:spMkLst>
        </pc:spChg>
      </pc:sldChg>
      <pc:sldChg chg="addSp modSp del mod addCm modCm">
        <pc:chgData name="Lisa Boyette" userId="24cc2e01-2130-4f78-ae8d-8253b197adea" providerId="ADAL" clId="{04D6EC11-0CE4-48F0-B750-BC7D95EBD056}" dt="2024-03-20T17:00:32.351" v="8835" actId="47"/>
        <pc:sldMkLst>
          <pc:docMk/>
          <pc:sldMk cId="3212070676" sldId="2147482137"/>
        </pc:sldMkLst>
        <pc:spChg chg="mod">
          <ac:chgData name="Lisa Boyette" userId="24cc2e01-2130-4f78-ae8d-8253b197adea" providerId="ADAL" clId="{04D6EC11-0CE4-48F0-B750-BC7D95EBD056}" dt="2024-03-20T14:49:37.945" v="8803" actId="1076"/>
          <ac:spMkLst>
            <pc:docMk/>
            <pc:sldMk cId="3212070676" sldId="2147482137"/>
            <ac:spMk id="2" creationId="{5354029C-42F0-FEBB-4DA3-93088E7981AE}"/>
          </ac:spMkLst>
        </pc:spChg>
        <pc:grpChg chg="add mod">
          <ac:chgData name="Lisa Boyette" userId="24cc2e01-2130-4f78-ae8d-8253b197adea" providerId="ADAL" clId="{04D6EC11-0CE4-48F0-B750-BC7D95EBD056}" dt="2024-03-20T14:38:48.937" v="8621" actId="1076"/>
          <ac:grpSpMkLst>
            <pc:docMk/>
            <pc:sldMk cId="3212070676" sldId="2147482137"/>
            <ac:grpSpMk id="7" creationId="{C9993426-E9B7-4BCC-89BD-3968C9C439BE}"/>
          </ac:grpSpMkLst>
        </pc:grpChg>
        <pc:picChg chg="mod modCrop">
          <ac:chgData name="Lisa Boyette" userId="24cc2e01-2130-4f78-ae8d-8253b197adea" providerId="ADAL" clId="{04D6EC11-0CE4-48F0-B750-BC7D95EBD056}" dt="2024-03-20T14:38:27.122" v="8617" actId="732"/>
          <ac:picMkLst>
            <pc:docMk/>
            <pc:sldMk cId="3212070676" sldId="2147482137"/>
            <ac:picMk id="3" creationId="{2E7B8D04-E66F-8513-7C66-93661F59BCCE}"/>
          </ac:picMkLst>
        </pc:picChg>
        <pc:picChg chg="add mod modCrop">
          <ac:chgData name="Lisa Boyette" userId="24cc2e01-2130-4f78-ae8d-8253b197adea" providerId="ADAL" clId="{04D6EC11-0CE4-48F0-B750-BC7D95EBD056}" dt="2024-03-20T14:38:37.824" v="8618" actId="732"/>
          <ac:picMkLst>
            <pc:docMk/>
            <pc:sldMk cId="3212070676" sldId="2147482137"/>
            <ac:picMk id="6" creationId="{3CC13A7C-6FAE-D574-43EC-C465F00BE98B}"/>
          </ac:picMkLst>
        </pc:picChg>
      </pc:sldChg>
      <pc:sldChg chg="modSp mod modCm">
        <pc:chgData name="Lisa Boyette" userId="24cc2e01-2130-4f78-ae8d-8253b197adea" providerId="ADAL" clId="{04D6EC11-0CE4-48F0-B750-BC7D95EBD056}" dt="2024-03-20T02:54:13.180" v="8380" actId="13926"/>
        <pc:sldMkLst>
          <pc:docMk/>
          <pc:sldMk cId="609575873" sldId="2147482139"/>
        </pc:sldMkLst>
        <pc:spChg chg="mod">
          <ac:chgData name="Lisa Boyette" userId="24cc2e01-2130-4f78-ae8d-8253b197adea" providerId="ADAL" clId="{04D6EC11-0CE4-48F0-B750-BC7D95EBD056}" dt="2024-03-20T02:54:13.180" v="8380" actId="13926"/>
          <ac:spMkLst>
            <pc:docMk/>
            <pc:sldMk cId="609575873" sldId="2147482139"/>
            <ac:spMk id="2" creationId="{5354029C-42F0-FEBB-4DA3-93088E7981AE}"/>
          </ac:spMkLst>
        </pc:spChg>
      </pc:sldChg>
      <pc:sldChg chg="modSp mod ord modShow addCm">
        <pc:chgData name="Lisa Boyette" userId="24cc2e01-2130-4f78-ae8d-8253b197adea" providerId="ADAL" clId="{04D6EC11-0CE4-48F0-B750-BC7D95EBD056}" dt="2024-03-21T13:38:32.204" v="9591"/>
        <pc:sldMkLst>
          <pc:docMk/>
          <pc:sldMk cId="2807046771" sldId="2147482141"/>
        </pc:sldMkLst>
        <pc:spChg chg="mod">
          <ac:chgData name="Lisa Boyette" userId="24cc2e01-2130-4f78-ae8d-8253b197adea" providerId="ADAL" clId="{04D6EC11-0CE4-48F0-B750-BC7D95EBD056}" dt="2024-03-20T19:07:14.403" v="9023" actId="20577"/>
          <ac:spMkLst>
            <pc:docMk/>
            <pc:sldMk cId="2807046771" sldId="2147482141"/>
            <ac:spMk id="2" creationId="{5354029C-42F0-FEBB-4DA3-93088E7981AE}"/>
          </ac:spMkLst>
        </pc:spChg>
      </pc:sldChg>
      <pc:sldChg chg="del">
        <pc:chgData name="Lisa Boyette" userId="24cc2e01-2130-4f78-ae8d-8253b197adea" providerId="ADAL" clId="{04D6EC11-0CE4-48F0-B750-BC7D95EBD056}" dt="2024-03-20T14:33:45.398" v="8555" actId="47"/>
        <pc:sldMkLst>
          <pc:docMk/>
          <pc:sldMk cId="3907199515" sldId="2147482141"/>
        </pc:sldMkLst>
      </pc:sldChg>
      <pc:sldChg chg="modSp add mod modCm">
        <pc:chgData name="Lisa Boyette" userId="24cc2e01-2130-4f78-ae8d-8253b197adea" providerId="ADAL" clId="{04D6EC11-0CE4-48F0-B750-BC7D95EBD056}" dt="2024-03-21T13:37:11.591" v="9544" actId="20577"/>
        <pc:sldMkLst>
          <pc:docMk/>
          <pc:sldMk cId="2837651119" sldId="2147482142"/>
        </pc:sldMkLst>
        <pc:spChg chg="mod">
          <ac:chgData name="Lisa Boyette" userId="24cc2e01-2130-4f78-ae8d-8253b197adea" providerId="ADAL" clId="{04D6EC11-0CE4-48F0-B750-BC7D95EBD056}" dt="2024-03-21T13:37:11.591" v="9544" actId="20577"/>
          <ac:spMkLst>
            <pc:docMk/>
            <pc:sldMk cId="2837651119" sldId="2147482142"/>
            <ac:spMk id="3" creationId="{7D836601-6754-9347-8E4F-019A9E8569EC}"/>
          </ac:spMkLst>
        </pc:spChg>
      </pc:sldChg>
      <pc:sldChg chg="addSp modSp new del mod addCm">
        <pc:chgData name="Lisa Boyette" userId="24cc2e01-2130-4f78-ae8d-8253b197adea" providerId="ADAL" clId="{04D6EC11-0CE4-48F0-B750-BC7D95EBD056}" dt="2024-03-25T21:47:22.674" v="10340" actId="47"/>
        <pc:sldMkLst>
          <pc:docMk/>
          <pc:sldMk cId="1602113009" sldId="2147482144"/>
        </pc:sldMkLst>
        <pc:spChg chg="mod">
          <ac:chgData name="Lisa Boyette" userId="24cc2e01-2130-4f78-ae8d-8253b197adea" providerId="ADAL" clId="{04D6EC11-0CE4-48F0-B750-BC7D95EBD056}" dt="2024-03-20T20:24:25.914" v="9165" actId="255"/>
          <ac:spMkLst>
            <pc:docMk/>
            <pc:sldMk cId="1602113009" sldId="2147482144"/>
            <ac:spMk id="2" creationId="{049A1E54-6549-7F6E-E9EF-B8D7FD96E356}"/>
          </ac:spMkLst>
        </pc:spChg>
        <pc:spChg chg="add mod">
          <ac:chgData name="Lisa Boyette" userId="24cc2e01-2130-4f78-ae8d-8253b197adea" providerId="ADAL" clId="{04D6EC11-0CE4-48F0-B750-BC7D95EBD056}" dt="2024-03-21T13:40:59.687" v="9637" actId="14100"/>
          <ac:spMkLst>
            <pc:docMk/>
            <pc:sldMk cId="1602113009" sldId="2147482144"/>
            <ac:spMk id="5" creationId="{F048191A-6FD2-955A-98AC-5A90D5EA5592}"/>
          </ac:spMkLst>
        </pc:spChg>
        <pc:graphicFrameChg chg="add mod modGraphic">
          <ac:chgData name="Lisa Boyette" userId="24cc2e01-2130-4f78-ae8d-8253b197adea" providerId="ADAL" clId="{04D6EC11-0CE4-48F0-B750-BC7D95EBD056}" dt="2024-03-20T20:25:11.348" v="9167" actId="12100"/>
          <ac:graphicFrameMkLst>
            <pc:docMk/>
            <pc:sldMk cId="1602113009" sldId="2147482144"/>
            <ac:graphicFrameMk id="4" creationId="{230E6F9E-0C61-DB10-126C-E92662106F29}"/>
          </ac:graphicFrameMkLst>
        </pc:graphicFrameChg>
      </pc:sldChg>
      <pc:sldChg chg="addSp delSp modSp add mod">
        <pc:chgData name="Lisa Boyette" userId="24cc2e01-2130-4f78-ae8d-8253b197adea" providerId="ADAL" clId="{04D6EC11-0CE4-48F0-B750-BC7D95EBD056}" dt="2024-03-21T13:49:07.107" v="10295" actId="20577"/>
        <pc:sldMkLst>
          <pc:docMk/>
          <pc:sldMk cId="3823604198" sldId="2147482147"/>
        </pc:sldMkLst>
        <pc:spChg chg="add mod">
          <ac:chgData name="Lisa Boyette" userId="24cc2e01-2130-4f78-ae8d-8253b197adea" providerId="ADAL" clId="{04D6EC11-0CE4-48F0-B750-BC7D95EBD056}" dt="2024-03-21T13:49:07.107" v="10295" actId="20577"/>
          <ac:spMkLst>
            <pc:docMk/>
            <pc:sldMk cId="3823604198" sldId="2147482147"/>
            <ac:spMk id="6" creationId="{D7F8D335-8318-E666-BC23-74EEACE0A348}"/>
          </ac:spMkLst>
        </pc:spChg>
        <pc:graphicFrameChg chg="del modGraphic">
          <ac:chgData name="Lisa Boyette" userId="24cc2e01-2130-4f78-ae8d-8253b197adea" providerId="ADAL" clId="{04D6EC11-0CE4-48F0-B750-BC7D95EBD056}" dt="2024-03-21T13:47:43.776" v="10191" actId="478"/>
          <ac:graphicFrameMkLst>
            <pc:docMk/>
            <pc:sldMk cId="3823604198" sldId="2147482147"/>
            <ac:graphicFrameMk id="4" creationId="{A4E42C46-3083-19E3-D111-210F42CA16BC}"/>
          </ac:graphicFrameMkLst>
        </pc:graphicFrameChg>
        <pc:graphicFrameChg chg="add del">
          <ac:chgData name="Lisa Boyette" userId="24cc2e01-2130-4f78-ae8d-8253b197adea" providerId="ADAL" clId="{04D6EC11-0CE4-48F0-B750-BC7D95EBD056}" dt="2024-03-21T13:45:38.300" v="9869"/>
          <ac:graphicFrameMkLst>
            <pc:docMk/>
            <pc:sldMk cId="3823604198" sldId="2147482147"/>
            <ac:graphicFrameMk id="5" creationId="{F67AE790-D17C-AC27-6A2F-6DD01CC73F20}"/>
          </ac:graphicFrameMkLst>
        </pc:graphicFrameChg>
      </pc:sldChg>
      <pc:sldChg chg="modCm">
        <pc:chgData name="Lisa Boyette" userId="24cc2e01-2130-4f78-ae8d-8253b197adea" providerId="ADAL" clId="{04D6EC11-0CE4-48F0-B750-BC7D95EBD056}" dt="2024-03-25T22:18:34.813" v="10341" actId="2056"/>
        <pc:sldMkLst>
          <pc:docMk/>
          <pc:sldMk cId="1537990309" sldId="2147482150"/>
        </pc:sldMkLst>
      </pc:sldChg>
      <pc:sldMasterChg chg="delSldLayout modSldLayout">
        <pc:chgData name="Lisa Boyette" userId="24cc2e01-2130-4f78-ae8d-8253b197adea" providerId="ADAL" clId="{04D6EC11-0CE4-48F0-B750-BC7D95EBD056}" dt="2024-03-19T21:37:50.031" v="7790" actId="735"/>
        <pc:sldMasterMkLst>
          <pc:docMk/>
          <pc:sldMasterMk cId="662014058" sldId="2147483887"/>
        </pc:sldMasterMkLst>
        <pc:sldLayoutChg chg="modSp">
          <pc:chgData name="Lisa Boyette" userId="24cc2e01-2130-4f78-ae8d-8253b197adea" providerId="ADAL" clId="{04D6EC11-0CE4-48F0-B750-BC7D95EBD056}" dt="2024-03-19T21:37:50.031" v="7790" actId="735"/>
          <pc:sldLayoutMkLst>
            <pc:docMk/>
            <pc:sldMasterMk cId="662014058" sldId="2147483887"/>
            <pc:sldLayoutMk cId="1222749484" sldId="2147483889"/>
          </pc:sldLayoutMkLst>
        </pc:sldLayoutChg>
        <pc:sldLayoutChg chg="delSp modSp mod">
          <pc:chgData name="Lisa Boyette" userId="24cc2e01-2130-4f78-ae8d-8253b197adea" providerId="ADAL" clId="{04D6EC11-0CE4-48F0-B750-BC7D95EBD056}" dt="2024-03-19T03:01:30.624" v="7077" actId="478"/>
          <pc:sldLayoutMkLst>
            <pc:docMk/>
            <pc:sldMasterMk cId="662014058" sldId="2147483887"/>
            <pc:sldLayoutMk cId="37112759" sldId="2147483968"/>
          </pc:sldLayoutMkLst>
          <pc:spChg chg="del">
            <ac:chgData name="Lisa Boyette" userId="24cc2e01-2130-4f78-ae8d-8253b197adea" providerId="ADAL" clId="{04D6EC11-0CE4-48F0-B750-BC7D95EBD056}" dt="2024-03-19T03:01:30.624" v="7077" actId="478"/>
            <ac:spMkLst>
              <pc:docMk/>
              <pc:sldMasterMk cId="662014058" sldId="2147483887"/>
              <pc:sldLayoutMk cId="37112759" sldId="2147483968"/>
              <ac:spMk id="6" creationId="{72BF970B-3FB2-E84A-B70E-2F82C3C4236F}"/>
            </ac:spMkLst>
          </pc:spChg>
        </pc:sldLayoutChg>
        <pc:sldLayoutChg chg="del">
          <pc:chgData name="Lisa Boyette" userId="24cc2e01-2130-4f78-ae8d-8253b197adea" providerId="ADAL" clId="{04D6EC11-0CE4-48F0-B750-BC7D95EBD056}" dt="2024-03-18T22:08:12.769" v="598" actId="47"/>
          <pc:sldLayoutMkLst>
            <pc:docMk/>
            <pc:sldMasterMk cId="662014058" sldId="2147483887"/>
            <pc:sldLayoutMk cId="1118704865" sldId="2147484000"/>
          </pc:sldLayoutMkLst>
        </pc:sldLayoutChg>
        <pc:sldLayoutChg chg="del">
          <pc:chgData name="Lisa Boyette" userId="24cc2e01-2130-4f78-ae8d-8253b197adea" providerId="ADAL" clId="{04D6EC11-0CE4-48F0-B750-BC7D95EBD056}" dt="2024-03-18T22:08:22.258" v="600" actId="47"/>
          <pc:sldLayoutMkLst>
            <pc:docMk/>
            <pc:sldMasterMk cId="662014058" sldId="2147483887"/>
            <pc:sldLayoutMk cId="2033031749" sldId="2147484001"/>
          </pc:sldLayoutMkLst>
        </pc:sldLayoutChg>
      </pc:sldMasterChg>
      <pc:sldMasterChg chg="del delSldLayout">
        <pc:chgData name="Lisa Boyette" userId="24cc2e01-2130-4f78-ae8d-8253b197adea" providerId="ADAL" clId="{04D6EC11-0CE4-48F0-B750-BC7D95EBD056}" dt="2024-03-19T01:26:14.814" v="3480" actId="2696"/>
        <pc:sldMasterMkLst>
          <pc:docMk/>
          <pc:sldMasterMk cId="620031081" sldId="2147483969"/>
        </pc:sldMasterMkLst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4185082263" sldId="2147483970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3552831105" sldId="2147483971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3083065188" sldId="2147483972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953843211" sldId="2147483973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296106936" sldId="2147483974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3280518390" sldId="2147483975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633577073" sldId="2147483976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1489431589" sldId="2147483977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3070858755" sldId="2147483978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945926590" sldId="2147483979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2546479654" sldId="2147483980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2586359003" sldId="2147483981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2486419742" sldId="2147483982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821585541" sldId="2147483983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1741321828" sldId="2147483984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2905914497" sldId="2147483985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1258665845" sldId="2147483986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107312670" sldId="2147483987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3242481979" sldId="2147483988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1387377395" sldId="2147483989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4204396106" sldId="2147483990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929018136" sldId="2147483991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1858089898" sldId="2147483992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4210925048" sldId="2147483993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232668607" sldId="2147483994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1677944315" sldId="2147483995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1215658710" sldId="2147483996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4231535865" sldId="2147483997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59406314" sldId="2147483998"/>
          </pc:sldLayoutMkLst>
        </pc:sldLayoutChg>
        <pc:sldLayoutChg chg="del">
          <pc:chgData name="Lisa Boyette" userId="24cc2e01-2130-4f78-ae8d-8253b197adea" providerId="ADAL" clId="{04D6EC11-0CE4-48F0-B750-BC7D95EBD056}" dt="2024-03-19T01:26:14.814" v="3480" actId="2696"/>
          <pc:sldLayoutMkLst>
            <pc:docMk/>
            <pc:sldMasterMk cId="620031081" sldId="2147483969"/>
            <pc:sldLayoutMk cId="1919333282" sldId="2147483999"/>
          </pc:sldLayoutMkLst>
        </pc:sldLayoutChg>
      </pc:sldMasterChg>
      <pc:sldMasterChg chg="del delSldLayout">
        <pc:chgData name="Lisa Boyette" userId="24cc2e01-2130-4f78-ae8d-8253b197adea" providerId="ADAL" clId="{04D6EC11-0CE4-48F0-B750-BC7D95EBD056}" dt="2024-03-19T02:27:54.036" v="4656" actId="2696"/>
        <pc:sldMasterMkLst>
          <pc:docMk/>
          <pc:sldMasterMk cId="2770296229" sldId="2147484000"/>
        </pc:sldMasterMkLst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704467105" sldId="2147484001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716459401" sldId="2147484002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787755927" sldId="2147484003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819779958" sldId="2147484004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54853684" sldId="2147484005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224416555" sldId="2147484006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938005293" sldId="2147484007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729080927" sldId="2147484008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590268245" sldId="2147484009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023759534" sldId="2147484010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4226617275" sldId="2147484011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319600338" sldId="2147484012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180686382" sldId="2147484013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913274358" sldId="2147484014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594108136" sldId="2147484015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875859576" sldId="2147484016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138830759" sldId="2147484017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555534918" sldId="2147484018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775415704" sldId="2147484019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000091828" sldId="2147484020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61679732" sldId="2147484021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138993227" sldId="2147484022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62968872" sldId="2147484023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063200226" sldId="2147484024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202471498" sldId="2147484025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460989006" sldId="2147484026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001167605" sldId="2147484027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629100801" sldId="2147484028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429868953" sldId="2147484029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176656422" sldId="2147484030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984953658" sldId="2147484031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425144640" sldId="2147484032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4120587883" sldId="2147484033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024730281" sldId="2147484034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493262766" sldId="2147484035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568050587" sldId="2147484036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657250041" sldId="2147484037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954922040" sldId="2147484038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33168900" sldId="2147484039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686365985" sldId="2147484040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382881509" sldId="2147484041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202504988" sldId="2147484042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189042925" sldId="2147484043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523540461" sldId="2147484044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37093203" sldId="2147484045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007299979" sldId="2147484046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599147944" sldId="2147484047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649641497" sldId="2147484048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924268361" sldId="2147484049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990220416" sldId="2147484050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4053884634" sldId="2147484051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400779033" sldId="2147484052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332066040" sldId="2147484053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4076527647" sldId="2147484054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4038157362" sldId="2147484055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4090828686" sldId="2147484056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917574444" sldId="2147484057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973645766" sldId="2147484058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985190181" sldId="2147484059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2879617301" sldId="2147484060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3151682748" sldId="2147484061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11936801" sldId="2147484062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404932577" sldId="2147484063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943143050" sldId="2147484064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645080934" sldId="2147484065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422656281" sldId="2147484066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587600289" sldId="2147484067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1720019363" sldId="2147484068"/>
          </pc:sldLayoutMkLst>
        </pc:sldLayoutChg>
        <pc:sldLayoutChg chg="del">
          <pc:chgData name="Lisa Boyette" userId="24cc2e01-2130-4f78-ae8d-8253b197adea" providerId="ADAL" clId="{04D6EC11-0CE4-48F0-B750-BC7D95EBD056}" dt="2024-03-19T02:27:54.036" v="4656" actId="2696"/>
          <pc:sldLayoutMkLst>
            <pc:docMk/>
            <pc:sldMasterMk cId="2770296229" sldId="2147484000"/>
            <pc:sldLayoutMk cId="4208201396" sldId="2147484069"/>
          </pc:sldLayoutMkLst>
        </pc:sldLayoutChg>
      </pc:sldMasterChg>
      <pc:sldMasterChg chg="add del addSldLayout delSldLayout">
        <pc:chgData name="Lisa Boyette" userId="24cc2e01-2130-4f78-ae8d-8253b197adea" providerId="ADAL" clId="{04D6EC11-0CE4-48F0-B750-BC7D95EBD056}" dt="2024-03-19T02:20:52.060" v="4548" actId="2696"/>
        <pc:sldMasterMkLst>
          <pc:docMk/>
          <pc:sldMasterMk cId="4160583399" sldId="2147484070"/>
        </pc:sldMasterMkLst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2817507587" sldId="2147484071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868340822" sldId="2147484072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3605575946" sldId="2147484073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562321447" sldId="2147484074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30875060" sldId="2147484075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921670949" sldId="2147484076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3374713374" sldId="2147484077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1364211293" sldId="2147484078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264936387" sldId="2147484079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819182432" sldId="2147484080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1459726784" sldId="2147484081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551094200" sldId="2147484082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3076510115" sldId="2147484083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3422558655" sldId="2147484084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2221606778" sldId="2147484085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1534067641" sldId="2147484086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2134423830" sldId="2147484087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3742501781" sldId="2147484088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1368929130" sldId="2147484089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2210645848" sldId="2147484090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58285615" sldId="2147484091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3553557332" sldId="2147484092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170074530" sldId="2147484093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268230050" sldId="2147484094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1435508526" sldId="2147484095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1886857672" sldId="2147484096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3855054981" sldId="2147484097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1709917458" sldId="2147484098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4036899329" sldId="2147484099"/>
          </pc:sldLayoutMkLst>
        </pc:sldLayoutChg>
        <pc:sldLayoutChg chg="add del">
          <pc:chgData name="Lisa Boyette" userId="24cc2e01-2130-4f78-ae8d-8253b197adea" providerId="ADAL" clId="{04D6EC11-0CE4-48F0-B750-BC7D95EBD056}" dt="2024-03-19T02:20:52.060" v="4548" actId="2696"/>
          <pc:sldLayoutMkLst>
            <pc:docMk/>
            <pc:sldMasterMk cId="4160583399" sldId="2147484070"/>
            <pc:sldLayoutMk cId="2700585694" sldId="2147484100"/>
          </pc:sldLayoutMkLst>
        </pc:sldLayoutChg>
      </pc:sldMasterChg>
      <pc:sldMasterChg chg="delSldLayout">
        <pc:chgData name="Lisa Boyette" userId="24cc2e01-2130-4f78-ae8d-8253b197adea" providerId="ADAL" clId="{04D6EC11-0CE4-48F0-B750-BC7D95EBD056}" dt="2024-03-20T14:40:33.542" v="8626" actId="2696"/>
        <pc:sldMasterMkLst>
          <pc:docMk/>
          <pc:sldMasterMk cId="2180852529" sldId="2147484141"/>
        </pc:sldMasterMkLst>
        <pc:sldLayoutChg chg="del">
          <pc:chgData name="Lisa Boyette" userId="24cc2e01-2130-4f78-ae8d-8253b197adea" providerId="ADAL" clId="{04D6EC11-0CE4-48F0-B750-BC7D95EBD056}" dt="2024-03-20T14:40:33.542" v="8626" actId="2696"/>
          <pc:sldLayoutMkLst>
            <pc:docMk/>
            <pc:sldMasterMk cId="2180852529" sldId="2147484141"/>
            <pc:sldLayoutMk cId="1191236835" sldId="2147484166"/>
          </pc:sldLayoutMkLst>
        </pc:sldLayoutChg>
      </pc:sldMasterChg>
      <pc:sldMasterChg chg="delSp modSp add del mod addSldLayout delSldLayout modSldLayout">
        <pc:chgData name="Lisa Boyette" userId="24cc2e01-2130-4f78-ae8d-8253b197adea" providerId="ADAL" clId="{04D6EC11-0CE4-48F0-B750-BC7D95EBD056}" dt="2024-03-20T14:48:43.277" v="8761" actId="478"/>
        <pc:sldMasterMkLst>
          <pc:docMk/>
          <pc:sldMasterMk cId="3048651512" sldId="2147484174"/>
        </pc:sldMasterMkLst>
        <pc:spChg chg="del">
          <ac:chgData name="Lisa Boyette" userId="24cc2e01-2130-4f78-ae8d-8253b197adea" providerId="ADAL" clId="{04D6EC11-0CE4-48F0-B750-BC7D95EBD056}" dt="2024-03-20T14:48:43.277" v="8761" actId="478"/>
          <ac:spMkLst>
            <pc:docMk/>
            <pc:sldMasterMk cId="3048651512" sldId="2147484174"/>
            <ac:spMk id="8" creationId="{C9DF1259-AB85-4463-A3CD-EFD729416EC3}"/>
          </ac:spMkLst>
        </pc:sp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951250675" sldId="2147484175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259529008" sldId="2147484176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2200163937" sldId="2147484177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022604083" sldId="2147484178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2594604189" sldId="2147484179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578953917" sldId="2147484180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450586248" sldId="2147484181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962889357" sldId="2147484182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2156030701" sldId="2147484183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296767444" sldId="2147484184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3453510889" sldId="2147484185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2841415919" sldId="2147484186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466179742" sldId="2147484187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776672591" sldId="2147484188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973607802" sldId="2147484189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659423093" sldId="2147484190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4223157278" sldId="2147484191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128876573" sldId="2147484192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424887962" sldId="2147484193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630210240" sldId="2147484194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3342612988" sldId="2147484195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206907613" sldId="2147484196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428327565" sldId="2147484197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549755399" sldId="2147484198"/>
          </pc:sldLayoutMkLst>
        </pc:sldLayoutChg>
        <pc:sldLayoutChg chg="modSp add del">
          <pc:chgData name="Lisa Boyette" userId="24cc2e01-2130-4f78-ae8d-8253b197adea" providerId="ADAL" clId="{04D6EC11-0CE4-48F0-B750-BC7D95EBD056}" dt="2024-03-20T14:48:33.496" v="8759" actId="735"/>
          <pc:sldLayoutMkLst>
            <pc:docMk/>
            <pc:sldMasterMk cId="3048651512" sldId="2147484174"/>
            <pc:sldLayoutMk cId="200498435" sldId="2147484199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3021510632" sldId="2147484200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3841873396" sldId="2147484201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996837854" sldId="2147484202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479788718" sldId="2147484203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1003258089" sldId="2147484204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3842846424" sldId="2147484205"/>
          </pc:sldLayoutMkLst>
        </pc:sldLayoutChg>
        <pc:sldLayoutChg chg="add del">
          <pc:chgData name="Lisa Boyette" userId="24cc2e01-2130-4f78-ae8d-8253b197adea" providerId="ADAL" clId="{04D6EC11-0CE4-48F0-B750-BC7D95EBD056}" dt="2024-03-20T14:47:54.588" v="8704" actId="700"/>
          <pc:sldLayoutMkLst>
            <pc:docMk/>
            <pc:sldMasterMk cId="3048651512" sldId="2147484174"/>
            <pc:sldLayoutMk cId="273683870" sldId="2147484206"/>
          </pc:sldLayoutMkLst>
        </pc:sldLayoutChg>
      </pc:sldMasterChg>
    </pc:docChg>
  </pc:docChgLst>
  <pc:docChgLst>
    <pc:chgData name="Jason Melehani" userId="S::jason.melehani@gilead.com::93603e9a-d746-4d7c-89da-7c5ef8b091f7" providerId="AD" clId="Web-{3538B416-547F-A597-A736-311BE2DDE2EB}"/>
    <pc:docChg chg="modSld">
      <pc:chgData name="Jason Melehani" userId="S::jason.melehani@gilead.com::93603e9a-d746-4d7c-89da-7c5ef8b091f7" providerId="AD" clId="Web-{3538B416-547F-A597-A736-311BE2DDE2EB}" dt="2024-03-02T00:35:40.416" v="355" actId="20577"/>
      <pc:docMkLst>
        <pc:docMk/>
      </pc:docMkLst>
      <pc:sldChg chg="addSp delSp modSp">
        <pc:chgData name="Jason Melehani" userId="S::jason.melehani@gilead.com::93603e9a-d746-4d7c-89da-7c5ef8b091f7" providerId="AD" clId="Web-{3538B416-547F-A597-A736-311BE2DDE2EB}" dt="2024-03-02T00:35:40.416" v="355" actId="20577"/>
        <pc:sldMkLst>
          <pc:docMk/>
          <pc:sldMk cId="1786549294" sldId="2147479463"/>
        </pc:sldMkLst>
        <pc:spChg chg="mod">
          <ac:chgData name="Jason Melehani" userId="S::jason.melehani@gilead.com::93603e9a-d746-4d7c-89da-7c5ef8b091f7" providerId="AD" clId="Web-{3538B416-547F-A597-A736-311BE2DDE2EB}" dt="2024-03-02T00:35:40.416" v="355" actId="20577"/>
          <ac:spMkLst>
            <pc:docMk/>
            <pc:sldMk cId="1786549294" sldId="2147479463"/>
            <ac:spMk id="3" creationId="{C6145EF6-3760-64C2-0384-F9533F7A9648}"/>
          </ac:spMkLst>
        </pc:spChg>
        <pc:picChg chg="add mod">
          <ac:chgData name="Jason Melehani" userId="S::jason.melehani@gilead.com::93603e9a-d746-4d7c-89da-7c5ef8b091f7" providerId="AD" clId="Web-{3538B416-547F-A597-A736-311BE2DDE2EB}" dt="2024-03-02T00:26:47.386" v="9" actId="1076"/>
          <ac:picMkLst>
            <pc:docMk/>
            <pc:sldMk cId="1786549294" sldId="2147479463"/>
            <ac:picMk id="6" creationId="{D7C19AF3-5CA9-8491-CEB6-018C0EFB8484}"/>
          </ac:picMkLst>
        </pc:picChg>
        <pc:picChg chg="add del mod">
          <ac:chgData name="Jason Melehani" userId="S::jason.melehani@gilead.com::93603e9a-d746-4d7c-89da-7c5ef8b091f7" providerId="AD" clId="Web-{3538B416-547F-A597-A736-311BE2DDE2EB}" dt="2024-03-02T00:27:08.168" v="11"/>
          <ac:picMkLst>
            <pc:docMk/>
            <pc:sldMk cId="1786549294" sldId="2147479463"/>
            <ac:picMk id="7" creationId="{97272D49-7CA0-C437-48BE-60DDAEBF2886}"/>
          </ac:picMkLst>
        </pc:picChg>
        <pc:picChg chg="add mod">
          <ac:chgData name="Jason Melehani" userId="S::jason.melehani@gilead.com::93603e9a-d746-4d7c-89da-7c5ef8b091f7" providerId="AD" clId="Web-{3538B416-547F-A597-A736-311BE2DDE2EB}" dt="2024-03-02T00:27:14.699" v="14" actId="1076"/>
          <ac:picMkLst>
            <pc:docMk/>
            <pc:sldMk cId="1786549294" sldId="2147479463"/>
            <ac:picMk id="8" creationId="{DA4E8BA3-564D-A974-F7E4-749674B79450}"/>
          </ac:picMkLst>
        </pc:picChg>
      </pc:sldChg>
    </pc:docChg>
  </pc:docChgLst>
  <pc:docChgLst>
    <pc:chgData name="Henry Hulter (Contractor)" userId="S::henry.hulter@gilead.com::61776daa-1f15-439c-abbe-da88991fe9d1" providerId="AD" clId="Web-{10527BA3-EEDD-9AC3-3293-17D986B0C943}"/>
    <pc:docChg chg="mod">
      <pc:chgData name="Henry Hulter (Contractor)" userId="S::henry.hulter@gilead.com::61776daa-1f15-439c-abbe-da88991fe9d1" providerId="AD" clId="Web-{10527BA3-EEDD-9AC3-3293-17D986B0C943}" dt="2024-01-30T23:50:00.975" v="1"/>
      <pc:docMkLst>
        <pc:docMk/>
      </pc:docMkLst>
      <pc:sldChg chg="addCm">
        <pc:chgData name="Henry Hulter (Contractor)" userId="S::henry.hulter@gilead.com::61776daa-1f15-439c-abbe-da88991fe9d1" providerId="AD" clId="Web-{10527BA3-EEDD-9AC3-3293-17D986B0C943}" dt="2024-01-30T23:50:00.975" v="1"/>
        <pc:sldMkLst>
          <pc:docMk/>
          <pc:sldMk cId="1495852894" sldId="2146847934"/>
        </pc:sldMkLst>
      </pc:sldChg>
    </pc:docChg>
  </pc:docChgLst>
  <pc:docChgLst>
    <pc:chgData name="Jason Melehani" userId="S::jason.melehani@gilead.com::93603e9a-d746-4d7c-89da-7c5ef8b091f7" providerId="AD" clId="Web-{8B17904C-3A96-0D1B-99E9-DBDE6FE08C81}"/>
    <pc:docChg chg="">
      <pc:chgData name="Jason Melehani" userId="S::jason.melehani@gilead.com::93603e9a-d746-4d7c-89da-7c5ef8b091f7" providerId="AD" clId="Web-{8B17904C-3A96-0D1B-99E9-DBDE6FE08C81}" dt="2024-03-26T19:07:32.237" v="0"/>
      <pc:docMkLst>
        <pc:docMk/>
      </pc:docMkLst>
      <pc:sldChg chg="modCm">
        <pc:chgData name="Jason Melehani" userId="S::jason.melehani@gilead.com::93603e9a-d746-4d7c-89da-7c5ef8b091f7" providerId="AD" clId="Web-{8B17904C-3A96-0D1B-99E9-DBDE6FE08C81}" dt="2024-03-26T19:07:32.237" v="0"/>
        <pc:sldMkLst>
          <pc:docMk/>
          <pc:sldMk cId="1537990309" sldId="2147482150"/>
        </pc:sldMkLst>
      </pc:sldChg>
    </pc:docChg>
  </pc:docChgLst>
  <pc:docChgLst>
    <pc:chgData name="Jun Xu" userId="16503f38-d1f6-4183-be87-545c60b6292a" providerId="ADAL" clId="{682977DF-347D-014C-94AB-8C792420946F}"/>
    <pc:docChg chg="undo custSel addSld delSld modSld sldOrd modSection">
      <pc:chgData name="Jun Xu" userId="16503f38-d1f6-4183-be87-545c60b6292a" providerId="ADAL" clId="{682977DF-347D-014C-94AB-8C792420946F}" dt="2024-04-10T21:11:52.871" v="1372"/>
      <pc:docMkLst>
        <pc:docMk/>
      </pc:docMkLst>
      <pc:sldChg chg="modCm">
        <pc:chgData name="Jun Xu" userId="16503f38-d1f6-4183-be87-545c60b6292a" providerId="ADAL" clId="{682977DF-347D-014C-94AB-8C792420946F}" dt="2024-03-26T15:49:51.339" v="1066" actId="2056"/>
        <pc:sldMkLst>
          <pc:docMk/>
          <pc:sldMk cId="3998398124" sldId="2146847936"/>
        </pc:sldMkLst>
      </pc:sldChg>
      <pc:sldChg chg="modSp mod modCm modNotesTx">
        <pc:chgData name="Jun Xu" userId="16503f38-d1f6-4183-be87-545c60b6292a" providerId="ADAL" clId="{682977DF-347D-014C-94AB-8C792420946F}" dt="2024-03-26T01:00:34.905" v="1065" actId="20577"/>
        <pc:sldMkLst>
          <pc:docMk/>
          <pc:sldMk cId="3190076938" sldId="2147472670"/>
        </pc:sldMkLst>
        <pc:spChg chg="mod">
          <ac:chgData name="Jun Xu" userId="16503f38-d1f6-4183-be87-545c60b6292a" providerId="ADAL" clId="{682977DF-347D-014C-94AB-8C792420946F}" dt="2024-03-20T23:20:05.789" v="603" actId="20577"/>
          <ac:spMkLst>
            <pc:docMk/>
            <pc:sldMk cId="3190076938" sldId="2147472670"/>
            <ac:spMk id="4" creationId="{3C82F452-0863-3B4E-85D1-65B2DFF1618C}"/>
          </ac:spMkLst>
        </pc:spChg>
        <pc:graphicFrameChg chg="modGraphic">
          <ac:chgData name="Jun Xu" userId="16503f38-d1f6-4183-be87-545c60b6292a" providerId="ADAL" clId="{682977DF-347D-014C-94AB-8C792420946F}" dt="2024-03-26T01:00:34.905" v="1065" actId="20577"/>
          <ac:graphicFrameMkLst>
            <pc:docMk/>
            <pc:sldMk cId="3190076938" sldId="2147472670"/>
            <ac:graphicFrameMk id="9" creationId="{7B1B46F3-01F0-C359-2115-41CB246AA563}"/>
          </ac:graphicFrameMkLst>
        </pc:graphicFrameChg>
      </pc:sldChg>
      <pc:sldChg chg="addSp delSp modSp del mod">
        <pc:chgData name="Jun Xu" userId="16503f38-d1f6-4183-be87-545c60b6292a" providerId="ADAL" clId="{682977DF-347D-014C-94AB-8C792420946F}" dt="2024-03-22T18:39:18.811" v="812" actId="2696"/>
        <pc:sldMkLst>
          <pc:docMk/>
          <pc:sldMk cId="3310299437" sldId="2147472677"/>
        </pc:sldMkLst>
        <pc:spChg chg="add mod">
          <ac:chgData name="Jun Xu" userId="16503f38-d1f6-4183-be87-545c60b6292a" providerId="ADAL" clId="{682977DF-347D-014C-94AB-8C792420946F}" dt="2024-03-20T23:39:55.034" v="799" actId="1076"/>
          <ac:spMkLst>
            <pc:docMk/>
            <pc:sldMk cId="3310299437" sldId="2147472677"/>
            <ac:spMk id="5" creationId="{0CA241CE-1D73-4CAA-7DFD-F24541374F47}"/>
          </ac:spMkLst>
        </pc:spChg>
        <pc:graphicFrameChg chg="add mod modGraphic">
          <ac:chgData name="Jun Xu" userId="16503f38-d1f6-4183-be87-545c60b6292a" providerId="ADAL" clId="{682977DF-347D-014C-94AB-8C792420946F}" dt="2024-03-20T23:43:19.676" v="803" actId="20577"/>
          <ac:graphicFrameMkLst>
            <pc:docMk/>
            <pc:sldMk cId="3310299437" sldId="2147472677"/>
            <ac:graphicFrameMk id="3" creationId="{B9AEA2AD-EDC6-E850-D28B-76E142493DE9}"/>
          </ac:graphicFrameMkLst>
        </pc:graphicFrameChg>
        <pc:graphicFrameChg chg="del">
          <ac:chgData name="Jun Xu" userId="16503f38-d1f6-4183-be87-545c60b6292a" providerId="ADAL" clId="{682977DF-347D-014C-94AB-8C792420946F}" dt="2024-03-20T19:52:31.041" v="511" actId="478"/>
          <ac:graphicFrameMkLst>
            <pc:docMk/>
            <pc:sldMk cId="3310299437" sldId="2147472677"/>
            <ac:graphicFrameMk id="5" creationId="{C183A0E1-4D61-582F-337C-2BA319C147A9}"/>
          </ac:graphicFrameMkLst>
        </pc:graphicFrameChg>
      </pc:sldChg>
      <pc:sldChg chg="addSp delSp modSp mod modShow modCm">
        <pc:chgData name="Jun Xu" userId="16503f38-d1f6-4183-be87-545c60b6292a" providerId="ADAL" clId="{682977DF-347D-014C-94AB-8C792420946F}" dt="2024-03-26T16:12:07.522" v="1148"/>
        <pc:sldMkLst>
          <pc:docMk/>
          <pc:sldMk cId="1242631946" sldId="2147472683"/>
        </pc:sldMkLst>
        <pc:spChg chg="mod">
          <ac:chgData name="Jun Xu" userId="16503f38-d1f6-4183-be87-545c60b6292a" providerId="ADAL" clId="{682977DF-347D-014C-94AB-8C792420946F}" dt="2024-03-26T00:59:39.334" v="1037" actId="20577"/>
          <ac:spMkLst>
            <pc:docMk/>
            <pc:sldMk cId="1242631946" sldId="2147472683"/>
            <ac:spMk id="2" creationId="{D132E6B5-E485-60D5-5F30-E987FCBD1CD8}"/>
          </ac:spMkLst>
        </pc:spChg>
        <pc:spChg chg="mod">
          <ac:chgData name="Jun Xu" userId="16503f38-d1f6-4183-be87-545c60b6292a" providerId="ADAL" clId="{682977DF-347D-014C-94AB-8C792420946F}" dt="2024-03-26T00:58:54.475" v="991" actId="1076"/>
          <ac:spMkLst>
            <pc:docMk/>
            <pc:sldMk cId="1242631946" sldId="2147472683"/>
            <ac:spMk id="4" creationId="{F8B97EA5-0D27-85E2-5B35-5ED810AE7D25}"/>
          </ac:spMkLst>
        </pc:spChg>
        <pc:spChg chg="add mod">
          <ac:chgData name="Jun Xu" userId="16503f38-d1f6-4183-be87-545c60b6292a" providerId="ADAL" clId="{682977DF-347D-014C-94AB-8C792420946F}" dt="2024-03-26T00:58:54.475" v="991" actId="1076"/>
          <ac:spMkLst>
            <pc:docMk/>
            <pc:sldMk cId="1242631946" sldId="2147472683"/>
            <ac:spMk id="5" creationId="{1213516E-43D4-8B12-1D08-86B87FA262E0}"/>
          </ac:spMkLst>
        </pc:spChg>
        <pc:spChg chg="add mod">
          <ac:chgData name="Jun Xu" userId="16503f38-d1f6-4183-be87-545c60b6292a" providerId="ADAL" clId="{682977DF-347D-014C-94AB-8C792420946F}" dt="2024-03-26T00:59:00.922" v="992" actId="1076"/>
          <ac:spMkLst>
            <pc:docMk/>
            <pc:sldMk cId="1242631946" sldId="2147472683"/>
            <ac:spMk id="6" creationId="{BEDE0757-BE01-1297-9FDF-127B99DCACC6}"/>
          </ac:spMkLst>
        </pc:spChg>
        <pc:spChg chg="add mod">
          <ac:chgData name="Jun Xu" userId="16503f38-d1f6-4183-be87-545c60b6292a" providerId="ADAL" clId="{682977DF-347D-014C-94AB-8C792420946F}" dt="2024-03-26T00:58:54.475" v="991" actId="1076"/>
          <ac:spMkLst>
            <pc:docMk/>
            <pc:sldMk cId="1242631946" sldId="2147472683"/>
            <ac:spMk id="10" creationId="{171B11B7-25E7-9CE6-12F6-7E3651CDFDE1}"/>
          </ac:spMkLst>
        </pc:spChg>
        <pc:spChg chg="del">
          <ac:chgData name="Jun Xu" userId="16503f38-d1f6-4183-be87-545c60b6292a" providerId="ADAL" clId="{682977DF-347D-014C-94AB-8C792420946F}" dt="2024-03-26T00:55:34.808" v="879" actId="478"/>
          <ac:spMkLst>
            <pc:docMk/>
            <pc:sldMk cId="1242631946" sldId="2147472683"/>
            <ac:spMk id="13" creationId="{FEF4CBC5-D306-0B23-7225-14DB647AACBA}"/>
          </ac:spMkLst>
        </pc:spChg>
        <pc:spChg chg="add mod">
          <ac:chgData name="Jun Xu" userId="16503f38-d1f6-4183-be87-545c60b6292a" providerId="ADAL" clId="{682977DF-347D-014C-94AB-8C792420946F}" dt="2024-03-26T00:58:54.475" v="991" actId="1076"/>
          <ac:spMkLst>
            <pc:docMk/>
            <pc:sldMk cId="1242631946" sldId="2147472683"/>
            <ac:spMk id="18" creationId="{100BA0AE-3C4A-732B-A20D-D0A58C6FC92E}"/>
          </ac:spMkLst>
        </pc:spChg>
        <pc:spChg chg="add mod">
          <ac:chgData name="Jun Xu" userId="16503f38-d1f6-4183-be87-545c60b6292a" providerId="ADAL" clId="{682977DF-347D-014C-94AB-8C792420946F}" dt="2024-03-26T00:59:13.671" v="1000" actId="1076"/>
          <ac:spMkLst>
            <pc:docMk/>
            <pc:sldMk cId="1242631946" sldId="2147472683"/>
            <ac:spMk id="22" creationId="{5CC4A642-D34B-80EF-8F8D-DCDF624D03B2}"/>
          </ac:spMkLst>
        </pc:spChg>
        <pc:spChg chg="del mod">
          <ac:chgData name="Jun Xu" userId="16503f38-d1f6-4183-be87-545c60b6292a" providerId="ADAL" clId="{682977DF-347D-014C-94AB-8C792420946F}" dt="2024-03-26T00:55:48.809" v="885" actId="478"/>
          <ac:spMkLst>
            <pc:docMk/>
            <pc:sldMk cId="1242631946" sldId="2147472683"/>
            <ac:spMk id="32" creationId="{AD08A513-B4B0-B9D3-A2AF-1C36A1F6E3E5}"/>
          </ac:spMkLst>
        </pc:spChg>
        <pc:spChg chg="del">
          <ac:chgData name="Jun Xu" userId="16503f38-d1f6-4183-be87-545c60b6292a" providerId="ADAL" clId="{682977DF-347D-014C-94AB-8C792420946F}" dt="2024-03-26T00:55:50.022" v="886" actId="478"/>
          <ac:spMkLst>
            <pc:docMk/>
            <pc:sldMk cId="1242631946" sldId="2147472683"/>
            <ac:spMk id="33" creationId="{FD7D8A15-55F3-6E32-A119-F62E507CEAF8}"/>
          </ac:spMkLst>
        </pc:spChg>
        <pc:spChg chg="del">
          <ac:chgData name="Jun Xu" userId="16503f38-d1f6-4183-be87-545c60b6292a" providerId="ADAL" clId="{682977DF-347D-014C-94AB-8C792420946F}" dt="2024-03-26T00:55:50.022" v="886" actId="478"/>
          <ac:spMkLst>
            <pc:docMk/>
            <pc:sldMk cId="1242631946" sldId="2147472683"/>
            <ac:spMk id="34" creationId="{81016DFF-895F-693C-FAC7-F3E69849B6A6}"/>
          </ac:spMkLst>
        </pc:spChg>
        <pc:spChg chg="del">
          <ac:chgData name="Jun Xu" userId="16503f38-d1f6-4183-be87-545c60b6292a" providerId="ADAL" clId="{682977DF-347D-014C-94AB-8C792420946F}" dt="2024-03-26T00:55:35.490" v="880" actId="478"/>
          <ac:spMkLst>
            <pc:docMk/>
            <pc:sldMk cId="1242631946" sldId="2147472683"/>
            <ac:spMk id="35" creationId="{C4F09C9E-9C9A-3BC0-BE77-F9609F078299}"/>
          </ac:spMkLst>
        </pc:spChg>
        <pc:grpChg chg="del mod">
          <ac:chgData name="Jun Xu" userId="16503f38-d1f6-4183-be87-545c60b6292a" providerId="ADAL" clId="{682977DF-347D-014C-94AB-8C792420946F}" dt="2024-03-26T00:55:47.461" v="884" actId="478"/>
          <ac:grpSpMkLst>
            <pc:docMk/>
            <pc:sldMk cId="1242631946" sldId="2147472683"/>
            <ac:grpSpMk id="17" creationId="{9FA2E63F-F4D7-2AF9-7499-CE47AFFF992F}"/>
          </ac:grpSpMkLst>
        </pc:grpChg>
        <pc:grpChg chg="del">
          <ac:chgData name="Jun Xu" userId="16503f38-d1f6-4183-be87-545c60b6292a" providerId="ADAL" clId="{682977DF-347D-014C-94AB-8C792420946F}" dt="2024-03-26T00:55:50.022" v="886" actId="478"/>
          <ac:grpSpMkLst>
            <pc:docMk/>
            <pc:sldMk cId="1242631946" sldId="2147472683"/>
            <ac:grpSpMk id="24" creationId="{3AE99966-C0F5-2859-DC2F-F81A3EA4ED18}"/>
          </ac:grpSpMkLst>
        </pc:grpChg>
        <pc:grpChg chg="del">
          <ac:chgData name="Jun Xu" userId="16503f38-d1f6-4183-be87-545c60b6292a" providerId="ADAL" clId="{682977DF-347D-014C-94AB-8C792420946F}" dt="2024-03-26T00:55:50.022" v="886" actId="478"/>
          <ac:grpSpMkLst>
            <pc:docMk/>
            <pc:sldMk cId="1242631946" sldId="2147472683"/>
            <ac:grpSpMk id="31" creationId="{2B99E7DB-8DB5-7EAD-CDB3-E6788DA65255}"/>
          </ac:grpSpMkLst>
        </pc:grpChg>
        <pc:picChg chg="add mod">
          <ac:chgData name="Jun Xu" userId="16503f38-d1f6-4183-be87-545c60b6292a" providerId="ADAL" clId="{682977DF-347D-014C-94AB-8C792420946F}" dt="2024-03-26T00:58:54.475" v="991" actId="1076"/>
          <ac:picMkLst>
            <pc:docMk/>
            <pc:sldMk cId="1242631946" sldId="2147472683"/>
            <ac:picMk id="3" creationId="{A525F7EB-1570-867C-C87F-A1D604171AFB}"/>
          </ac:picMkLst>
        </pc:picChg>
        <pc:picChg chg="add mod">
          <ac:chgData name="Jun Xu" userId="16503f38-d1f6-4183-be87-545c60b6292a" providerId="ADAL" clId="{682977DF-347D-014C-94AB-8C792420946F}" dt="2024-03-26T00:58:54.475" v="991" actId="1076"/>
          <ac:picMkLst>
            <pc:docMk/>
            <pc:sldMk cId="1242631946" sldId="2147472683"/>
            <ac:picMk id="7" creationId="{5DE69651-F9E6-9F5D-646A-4E6530D9CA2A}"/>
          </ac:picMkLst>
        </pc:picChg>
        <pc:picChg chg="add mod">
          <ac:chgData name="Jun Xu" userId="16503f38-d1f6-4183-be87-545c60b6292a" providerId="ADAL" clId="{682977DF-347D-014C-94AB-8C792420946F}" dt="2024-03-26T00:58:54.475" v="991" actId="1076"/>
          <ac:picMkLst>
            <pc:docMk/>
            <pc:sldMk cId="1242631946" sldId="2147472683"/>
            <ac:picMk id="8" creationId="{46BE454B-2C7C-BDE6-3EB6-B705A5CBE58B}"/>
          </ac:picMkLst>
        </pc:picChg>
        <pc:picChg chg="del">
          <ac:chgData name="Jun Xu" userId="16503f38-d1f6-4183-be87-545c60b6292a" providerId="ADAL" clId="{682977DF-347D-014C-94AB-8C792420946F}" dt="2024-03-26T00:55:33.178" v="878" actId="478"/>
          <ac:picMkLst>
            <pc:docMk/>
            <pc:sldMk cId="1242631946" sldId="2147472683"/>
            <ac:picMk id="11" creationId="{7F92F48A-FAEB-EFE2-C800-B260D4456ECA}"/>
          </ac:picMkLst>
        </pc:picChg>
        <pc:picChg chg="add mod">
          <ac:chgData name="Jun Xu" userId="16503f38-d1f6-4183-be87-545c60b6292a" providerId="ADAL" clId="{682977DF-347D-014C-94AB-8C792420946F}" dt="2024-03-26T00:58:54.475" v="991" actId="1076"/>
          <ac:picMkLst>
            <pc:docMk/>
            <pc:sldMk cId="1242631946" sldId="2147472683"/>
            <ac:picMk id="14" creationId="{240A2A34-C87F-1318-7D85-6190843A507B}"/>
          </ac:picMkLst>
        </pc:picChg>
        <pc:picChg chg="mod">
          <ac:chgData name="Jun Xu" userId="16503f38-d1f6-4183-be87-545c60b6292a" providerId="ADAL" clId="{682977DF-347D-014C-94AB-8C792420946F}" dt="2024-03-20T18:53:02.465" v="48" actId="1076"/>
          <ac:picMkLst>
            <pc:docMk/>
            <pc:sldMk cId="1242631946" sldId="2147472683"/>
            <ac:picMk id="15" creationId="{8D734B00-297D-F81A-6B53-33964726DEB5}"/>
          </ac:picMkLst>
        </pc:picChg>
        <pc:picChg chg="add mod">
          <ac:chgData name="Jun Xu" userId="16503f38-d1f6-4183-be87-545c60b6292a" providerId="ADAL" clId="{682977DF-347D-014C-94AB-8C792420946F}" dt="2024-03-26T00:58:54.475" v="991" actId="1076"/>
          <ac:picMkLst>
            <pc:docMk/>
            <pc:sldMk cId="1242631946" sldId="2147472683"/>
            <ac:picMk id="20" creationId="{FB65C3D5-CFC0-90C7-B82E-E8F4FA65AD48}"/>
          </ac:picMkLst>
        </pc:picChg>
      </pc:sldChg>
      <pc:sldChg chg="modSp">
        <pc:chgData name="Jun Xu" userId="16503f38-d1f6-4183-be87-545c60b6292a" providerId="ADAL" clId="{682977DF-347D-014C-94AB-8C792420946F}" dt="2024-03-20T17:31:21.920" v="0" actId="20578"/>
        <pc:sldMkLst>
          <pc:docMk/>
          <pc:sldMk cId="881740034" sldId="2147479353"/>
        </pc:sldMkLst>
        <pc:spChg chg="mod">
          <ac:chgData name="Jun Xu" userId="16503f38-d1f6-4183-be87-545c60b6292a" providerId="ADAL" clId="{682977DF-347D-014C-94AB-8C792420946F}" dt="2024-03-20T17:31:21.920" v="0" actId="20578"/>
          <ac:spMkLst>
            <pc:docMk/>
            <pc:sldMk cId="881740034" sldId="2147479353"/>
            <ac:spMk id="3" creationId="{7D836601-6754-9347-8E4F-019A9E8569EC}"/>
          </ac:spMkLst>
        </pc:spChg>
      </pc:sldChg>
      <pc:sldChg chg="modSp mod addCm modCm">
        <pc:chgData name="Jun Xu" userId="16503f38-d1f6-4183-be87-545c60b6292a" providerId="ADAL" clId="{682977DF-347D-014C-94AB-8C792420946F}" dt="2024-03-22T18:36:34.354" v="811" actId="20577"/>
        <pc:sldMkLst>
          <pc:docMk/>
          <pc:sldMk cId="3163595313" sldId="2147479477"/>
        </pc:sldMkLst>
        <pc:graphicFrameChg chg="mod modGraphic">
          <ac:chgData name="Jun Xu" userId="16503f38-d1f6-4183-be87-545c60b6292a" providerId="ADAL" clId="{682977DF-347D-014C-94AB-8C792420946F}" dt="2024-03-22T18:36:34.354" v="811" actId="20577"/>
          <ac:graphicFrameMkLst>
            <pc:docMk/>
            <pc:sldMk cId="3163595313" sldId="2147479477"/>
            <ac:graphicFrameMk id="3" creationId="{1BB599FD-6071-5C0B-0CCF-0A8634E74972}"/>
          </ac:graphicFrameMkLst>
        </pc:graphicFrameChg>
      </pc:sldChg>
      <pc:sldChg chg="modSp mod modCm">
        <pc:chgData name="Jun Xu" userId="16503f38-d1f6-4183-be87-545c60b6292a" providerId="ADAL" clId="{682977DF-347D-014C-94AB-8C792420946F}" dt="2024-03-20T23:29:42.421" v="750" actId="20577"/>
        <pc:sldMkLst>
          <pc:docMk/>
          <pc:sldMk cId="2761666500" sldId="2147479478"/>
        </pc:sldMkLst>
        <pc:graphicFrameChg chg="mod modGraphic">
          <ac:chgData name="Jun Xu" userId="16503f38-d1f6-4183-be87-545c60b6292a" providerId="ADAL" clId="{682977DF-347D-014C-94AB-8C792420946F}" dt="2024-03-20T23:29:42.421" v="750" actId="20577"/>
          <ac:graphicFrameMkLst>
            <pc:docMk/>
            <pc:sldMk cId="2761666500" sldId="2147479478"/>
            <ac:graphicFrameMk id="3" creationId="{1BB599FD-6071-5C0B-0CCF-0A8634E74972}"/>
          </ac:graphicFrameMkLst>
        </pc:graphicFrameChg>
      </pc:sldChg>
      <pc:sldChg chg="modSp mod">
        <pc:chgData name="Jun Xu" userId="16503f38-d1f6-4183-be87-545c60b6292a" providerId="ADAL" clId="{682977DF-347D-014C-94AB-8C792420946F}" dt="2024-03-22T18:39:25.079" v="816" actId="20577"/>
        <pc:sldMkLst>
          <pc:docMk/>
          <pc:sldMk cId="2262082012" sldId="2147482138"/>
        </pc:sldMkLst>
        <pc:spChg chg="mod">
          <ac:chgData name="Jun Xu" userId="16503f38-d1f6-4183-be87-545c60b6292a" providerId="ADAL" clId="{682977DF-347D-014C-94AB-8C792420946F}" dt="2024-03-22T18:39:25.079" v="816" actId="20577"/>
          <ac:spMkLst>
            <pc:docMk/>
            <pc:sldMk cId="2262082012" sldId="2147482138"/>
            <ac:spMk id="2" creationId="{2EE1EC38-29B0-75F9-5AD4-D0ABCA87157B}"/>
          </ac:spMkLst>
        </pc:spChg>
      </pc:sldChg>
      <pc:sldChg chg="addSp delSp modSp add mod modShow">
        <pc:chgData name="Jun Xu" userId="16503f38-d1f6-4183-be87-545c60b6292a" providerId="ADAL" clId="{682977DF-347D-014C-94AB-8C792420946F}" dt="2024-03-26T01:00:08.213" v="1038" actId="729"/>
        <pc:sldMkLst>
          <pc:docMk/>
          <pc:sldMk cId="3149000909" sldId="2147482143"/>
        </pc:sldMkLst>
        <pc:spChg chg="mod">
          <ac:chgData name="Jun Xu" userId="16503f38-d1f6-4183-be87-545c60b6292a" providerId="ADAL" clId="{682977DF-347D-014C-94AB-8C792420946F}" dt="2024-03-20T18:58:29.150" v="192" actId="20577"/>
          <ac:spMkLst>
            <pc:docMk/>
            <pc:sldMk cId="3149000909" sldId="2147482143"/>
            <ac:spMk id="2" creationId="{D132E6B5-E485-60D5-5F30-E987FCBD1CD8}"/>
          </ac:spMkLst>
        </pc:spChg>
        <pc:spChg chg="add mod">
          <ac:chgData name="Jun Xu" userId="16503f38-d1f6-4183-be87-545c60b6292a" providerId="ADAL" clId="{682977DF-347D-014C-94AB-8C792420946F}" dt="2024-03-20T19:02:01.521" v="244" actId="1076"/>
          <ac:spMkLst>
            <pc:docMk/>
            <pc:sldMk cId="3149000909" sldId="2147482143"/>
            <ac:spMk id="5" creationId="{D4DFBE65-4B02-9914-F7AA-DEB48B505EBD}"/>
          </ac:spMkLst>
        </pc:spChg>
        <pc:spChg chg="add mod">
          <ac:chgData name="Jun Xu" userId="16503f38-d1f6-4183-be87-545c60b6292a" providerId="ADAL" clId="{682977DF-347D-014C-94AB-8C792420946F}" dt="2024-03-26T00:56:55.821" v="964" actId="1076"/>
          <ac:spMkLst>
            <pc:docMk/>
            <pc:sldMk cId="3149000909" sldId="2147482143"/>
            <ac:spMk id="6" creationId="{C1474A7C-352E-FCBA-C46A-55DE565B2CC1}"/>
          </ac:spMkLst>
        </pc:spChg>
        <pc:spChg chg="add mod">
          <ac:chgData name="Jun Xu" userId="16503f38-d1f6-4183-be87-545c60b6292a" providerId="ADAL" clId="{682977DF-347D-014C-94AB-8C792420946F}" dt="2024-03-20T19:10:53.841" v="433" actId="1076"/>
          <ac:spMkLst>
            <pc:docMk/>
            <pc:sldMk cId="3149000909" sldId="2147482143"/>
            <ac:spMk id="12" creationId="{53C94AD7-9A1D-5612-05AF-13F29ED26F0A}"/>
          </ac:spMkLst>
        </pc:spChg>
        <pc:spChg chg="del">
          <ac:chgData name="Jun Xu" userId="16503f38-d1f6-4183-be87-545c60b6292a" providerId="ADAL" clId="{682977DF-347D-014C-94AB-8C792420946F}" dt="2024-03-20T18:58:35.788" v="195" actId="478"/>
          <ac:spMkLst>
            <pc:docMk/>
            <pc:sldMk cId="3149000909" sldId="2147482143"/>
            <ac:spMk id="13" creationId="{FEF4CBC5-D306-0B23-7225-14DB647AACBA}"/>
          </ac:spMkLst>
        </pc:spChg>
        <pc:spChg chg="add mod">
          <ac:chgData name="Jun Xu" userId="16503f38-d1f6-4183-be87-545c60b6292a" providerId="ADAL" clId="{682977DF-347D-014C-94AB-8C792420946F}" dt="2024-03-26T00:57:04.445" v="967" actId="1076"/>
          <ac:spMkLst>
            <pc:docMk/>
            <pc:sldMk cId="3149000909" sldId="2147482143"/>
            <ac:spMk id="16" creationId="{C7D987F6-A380-7FAB-63E8-E9DF7202C833}"/>
          </ac:spMkLst>
        </pc:spChg>
        <pc:picChg chg="add mod modCrop">
          <ac:chgData name="Jun Xu" userId="16503f38-d1f6-4183-be87-545c60b6292a" providerId="ADAL" clId="{682977DF-347D-014C-94AB-8C792420946F}" dt="2024-03-20T19:10:48.041" v="431" actId="14100"/>
          <ac:picMkLst>
            <pc:docMk/>
            <pc:sldMk cId="3149000909" sldId="2147482143"/>
            <ac:picMk id="3" creationId="{5997065A-E26C-F96F-EEAF-38480120179E}"/>
          </ac:picMkLst>
        </pc:picChg>
        <pc:picChg chg="add mod">
          <ac:chgData name="Jun Xu" userId="16503f38-d1f6-4183-be87-545c60b6292a" providerId="ADAL" clId="{682977DF-347D-014C-94AB-8C792420946F}" dt="2024-03-20T19:14:57.052" v="507" actId="1076"/>
          <ac:picMkLst>
            <pc:docMk/>
            <pc:sldMk cId="3149000909" sldId="2147482143"/>
            <ac:picMk id="7" creationId="{7EF06C50-A416-39FB-6642-E98B39013A4B}"/>
          </ac:picMkLst>
        </pc:picChg>
        <pc:picChg chg="add mod modCrop">
          <ac:chgData name="Jun Xu" userId="16503f38-d1f6-4183-be87-545c60b6292a" providerId="ADAL" clId="{682977DF-347D-014C-94AB-8C792420946F}" dt="2024-03-20T19:10:01.436" v="364" actId="732"/>
          <ac:picMkLst>
            <pc:docMk/>
            <pc:sldMk cId="3149000909" sldId="2147482143"/>
            <ac:picMk id="8" creationId="{023A8635-538E-E189-F55B-B54662BD80FB}"/>
          </ac:picMkLst>
        </pc:picChg>
        <pc:picChg chg="del">
          <ac:chgData name="Jun Xu" userId="16503f38-d1f6-4183-be87-545c60b6292a" providerId="ADAL" clId="{682977DF-347D-014C-94AB-8C792420946F}" dt="2024-03-20T18:58:33.592" v="193" actId="478"/>
          <ac:picMkLst>
            <pc:docMk/>
            <pc:sldMk cId="3149000909" sldId="2147482143"/>
            <ac:picMk id="11" creationId="{7F92F48A-FAEB-EFE2-C800-B260D4456ECA}"/>
          </ac:picMkLst>
        </pc:picChg>
        <pc:picChg chg="add mod">
          <ac:chgData name="Jun Xu" userId="16503f38-d1f6-4183-be87-545c60b6292a" providerId="ADAL" clId="{682977DF-347D-014C-94AB-8C792420946F}" dt="2024-03-20T19:15:06.710" v="510" actId="1076"/>
          <ac:picMkLst>
            <pc:docMk/>
            <pc:sldMk cId="3149000909" sldId="2147482143"/>
            <ac:picMk id="14" creationId="{148548A4-E421-47A6-77E9-F554B32AF989}"/>
          </ac:picMkLst>
        </pc:picChg>
        <pc:picChg chg="del">
          <ac:chgData name="Jun Xu" userId="16503f38-d1f6-4183-be87-545c60b6292a" providerId="ADAL" clId="{682977DF-347D-014C-94AB-8C792420946F}" dt="2024-03-20T18:58:34.272" v="194" actId="478"/>
          <ac:picMkLst>
            <pc:docMk/>
            <pc:sldMk cId="3149000909" sldId="2147482143"/>
            <ac:picMk id="15" creationId="{8D734B00-297D-F81A-6B53-33964726DEB5}"/>
          </ac:picMkLst>
        </pc:picChg>
        <pc:cxnChg chg="add mod">
          <ac:chgData name="Jun Xu" userId="16503f38-d1f6-4183-be87-545c60b6292a" providerId="ADAL" clId="{682977DF-347D-014C-94AB-8C792420946F}" dt="2024-03-20T19:10:56.467" v="434" actId="1076"/>
          <ac:cxnSpMkLst>
            <pc:docMk/>
            <pc:sldMk cId="3149000909" sldId="2147482143"/>
            <ac:cxnSpMk id="10" creationId="{A519F110-3EFB-9195-8910-2FCA935DE469}"/>
          </ac:cxnSpMkLst>
        </pc:cxnChg>
      </pc:sldChg>
      <pc:sldChg chg="addSp modSp add mod ord modShow modCm">
        <pc:chgData name="Jun Xu" userId="16503f38-d1f6-4183-be87-545c60b6292a" providerId="ADAL" clId="{682977DF-347D-014C-94AB-8C792420946F}" dt="2024-03-26T16:12:38.916" v="1150"/>
        <pc:sldMkLst>
          <pc:docMk/>
          <pc:sldMk cId="361833081" sldId="2147482145"/>
        </pc:sldMkLst>
        <pc:spChg chg="mod">
          <ac:chgData name="Jun Xu" userId="16503f38-d1f6-4183-be87-545c60b6292a" providerId="ADAL" clId="{682977DF-347D-014C-94AB-8C792420946F}" dt="2024-03-26T16:12:38.916" v="1150"/>
          <ac:spMkLst>
            <pc:docMk/>
            <pc:sldMk cId="361833081" sldId="2147482145"/>
            <ac:spMk id="2" creationId="{D132E6B5-E485-60D5-5F30-E987FCBD1CD8}"/>
          </ac:spMkLst>
        </pc:spChg>
        <pc:spChg chg="mod">
          <ac:chgData name="Jun Xu" userId="16503f38-d1f6-4183-be87-545c60b6292a" providerId="ADAL" clId="{682977DF-347D-014C-94AB-8C792420946F}" dt="2024-03-26T16:12:18.080" v="1149" actId="1076"/>
          <ac:spMkLst>
            <pc:docMk/>
            <pc:sldMk cId="361833081" sldId="2147482145"/>
            <ac:spMk id="11" creationId="{6F503022-59F3-DF07-DB11-818A89499C53}"/>
          </ac:spMkLst>
        </pc:spChg>
        <pc:picChg chg="mod">
          <ac:chgData name="Jun Xu" userId="16503f38-d1f6-4183-be87-545c60b6292a" providerId="ADAL" clId="{682977DF-347D-014C-94AB-8C792420946F}" dt="2024-03-20T23:37:29.110" v="765" actId="14100"/>
          <ac:picMkLst>
            <pc:docMk/>
            <pc:sldMk cId="361833081" sldId="2147482145"/>
            <ac:picMk id="9" creationId="{FF5CA202-37D4-E606-A58C-528BED3957CE}"/>
          </ac:picMkLst>
        </pc:picChg>
        <pc:picChg chg="mod">
          <ac:chgData name="Jun Xu" userId="16503f38-d1f6-4183-be87-545c60b6292a" providerId="ADAL" clId="{682977DF-347D-014C-94AB-8C792420946F}" dt="2024-03-20T23:37:33.226" v="766" actId="1076"/>
          <ac:picMkLst>
            <pc:docMk/>
            <pc:sldMk cId="361833081" sldId="2147482145"/>
            <ac:picMk id="13" creationId="{D775D5FA-5C42-938F-ADB1-BBF0E170BDE6}"/>
          </ac:picMkLst>
        </pc:picChg>
        <pc:picChg chg="add mod">
          <ac:chgData name="Jun Xu" userId="16503f38-d1f6-4183-be87-545c60b6292a" providerId="ADAL" clId="{682977DF-347D-014C-94AB-8C792420946F}" dt="2024-03-20T23:38:26.983" v="774" actId="14100"/>
          <ac:picMkLst>
            <pc:docMk/>
            <pc:sldMk cId="361833081" sldId="2147482145"/>
            <ac:picMk id="2050" creationId="{879BC8D3-511A-9269-6C98-036FF9A6EB7C}"/>
          </ac:picMkLst>
        </pc:picChg>
      </pc:sldChg>
      <pc:sldChg chg="addSp delSp modSp add mod delCm modCm">
        <pc:chgData name="Jun Xu" userId="16503f38-d1f6-4183-be87-545c60b6292a" providerId="ADAL" clId="{682977DF-347D-014C-94AB-8C792420946F}" dt="2024-03-26T18:24:25.260" v="1289"/>
        <pc:sldMkLst>
          <pc:docMk/>
          <pc:sldMk cId="1685824701" sldId="2147482146"/>
        </pc:sldMkLst>
        <pc:spChg chg="add del mod">
          <ac:chgData name="Jun Xu" userId="16503f38-d1f6-4183-be87-545c60b6292a" providerId="ADAL" clId="{682977DF-347D-014C-94AB-8C792420946F}" dt="2024-03-26T16:14:04.288" v="1155" actId="478"/>
          <ac:spMkLst>
            <pc:docMk/>
            <pc:sldMk cId="1685824701" sldId="2147482146"/>
            <ac:spMk id="2" creationId="{74C3AFB6-380F-A441-1179-B131359E6C8C}"/>
          </ac:spMkLst>
        </pc:spChg>
        <pc:spChg chg="mod">
          <ac:chgData name="Jun Xu" userId="16503f38-d1f6-4183-be87-545c60b6292a" providerId="ADAL" clId="{682977DF-347D-014C-94AB-8C792420946F}" dt="2024-03-26T15:50:54.721" v="1115" actId="20577"/>
          <ac:spMkLst>
            <pc:docMk/>
            <pc:sldMk cId="1685824701" sldId="2147482146"/>
            <ac:spMk id="4" creationId="{3C82F452-0863-3B4E-85D1-65B2DFF1618C}"/>
          </ac:spMkLst>
        </pc:spChg>
        <pc:spChg chg="add del mod">
          <ac:chgData name="Jun Xu" userId="16503f38-d1f6-4183-be87-545c60b6292a" providerId="ADAL" clId="{682977DF-347D-014C-94AB-8C792420946F}" dt="2024-03-26T16:14:04.288" v="1155" actId="478"/>
          <ac:spMkLst>
            <pc:docMk/>
            <pc:sldMk cId="1685824701" sldId="2147482146"/>
            <ac:spMk id="5" creationId="{E1BE8A07-CCDD-9CE9-40B3-513C65103CCF}"/>
          </ac:spMkLst>
        </pc:spChg>
        <pc:spChg chg="add del mod">
          <ac:chgData name="Jun Xu" userId="16503f38-d1f6-4183-be87-545c60b6292a" providerId="ADAL" clId="{682977DF-347D-014C-94AB-8C792420946F}" dt="2024-03-26T16:14:04.288" v="1155" actId="478"/>
          <ac:spMkLst>
            <pc:docMk/>
            <pc:sldMk cId="1685824701" sldId="2147482146"/>
            <ac:spMk id="6" creationId="{5E447B23-9597-DA04-286B-08C1887A359A}"/>
          </ac:spMkLst>
        </pc:spChg>
        <pc:spChg chg="add del mod">
          <ac:chgData name="Jun Xu" userId="16503f38-d1f6-4183-be87-545c60b6292a" providerId="ADAL" clId="{682977DF-347D-014C-94AB-8C792420946F}" dt="2024-03-26T16:14:04.288" v="1155" actId="478"/>
          <ac:spMkLst>
            <pc:docMk/>
            <pc:sldMk cId="1685824701" sldId="2147482146"/>
            <ac:spMk id="8" creationId="{ABF4D9A6-6174-2E4A-4243-BF2E17ED7AF7}"/>
          </ac:spMkLst>
        </pc:spChg>
        <pc:spChg chg="add del mod">
          <ac:chgData name="Jun Xu" userId="16503f38-d1f6-4183-be87-545c60b6292a" providerId="ADAL" clId="{682977DF-347D-014C-94AB-8C792420946F}" dt="2024-03-26T16:28:27.844" v="1286" actId="478"/>
          <ac:spMkLst>
            <pc:docMk/>
            <pc:sldMk cId="1685824701" sldId="2147482146"/>
            <ac:spMk id="11" creationId="{2EC65E56-6DB4-7953-7F55-52DA9A0C1175}"/>
          </ac:spMkLst>
        </pc:spChg>
        <pc:graphicFrameChg chg="mod modGraphic">
          <ac:chgData name="Jun Xu" userId="16503f38-d1f6-4183-be87-545c60b6292a" providerId="ADAL" clId="{682977DF-347D-014C-94AB-8C792420946F}" dt="2024-03-26T16:13:56.234" v="1152" actId="14100"/>
          <ac:graphicFrameMkLst>
            <pc:docMk/>
            <pc:sldMk cId="1685824701" sldId="2147482146"/>
            <ac:graphicFrameMk id="9" creationId="{E90DF69C-569A-F2F7-4560-5E7E49E2E77B}"/>
          </ac:graphicFrameMkLst>
        </pc:graphicFrameChg>
        <pc:picChg chg="add mod">
          <ac:chgData name="Jun Xu" userId="16503f38-d1f6-4183-be87-545c60b6292a" providerId="ADAL" clId="{682977DF-347D-014C-94AB-8C792420946F}" dt="2024-03-20T23:32:36.308" v="760" actId="1076"/>
          <ac:picMkLst>
            <pc:docMk/>
            <pc:sldMk cId="1685824701" sldId="2147482146"/>
            <ac:picMk id="2" creationId="{42B8EB1E-F21B-53DD-FEE7-8E5F82E4E74B}"/>
          </ac:picMkLst>
        </pc:picChg>
        <pc:picChg chg="add mod modCrop">
          <ac:chgData name="Jun Xu" userId="16503f38-d1f6-4183-be87-545c60b6292a" providerId="ADAL" clId="{682977DF-347D-014C-94AB-8C792420946F}" dt="2024-03-26T16:18:48.091" v="1165" actId="1076"/>
          <ac:picMkLst>
            <pc:docMk/>
            <pc:sldMk cId="1685824701" sldId="2147482146"/>
            <ac:picMk id="10" creationId="{2EDBBE0D-8D0D-EFA8-41AE-0FFE30BA553C}"/>
          </ac:picMkLst>
        </pc:picChg>
        <pc:picChg chg="mod">
          <ac:chgData name="Jun Xu" userId="16503f38-d1f6-4183-be87-545c60b6292a" providerId="ADAL" clId="{682977DF-347D-014C-94AB-8C792420946F}" dt="2024-03-20T23:32:00.027" v="753" actId="732"/>
          <ac:picMkLst>
            <pc:docMk/>
            <pc:sldMk cId="1685824701" sldId="2147482146"/>
            <ac:picMk id="1025" creationId="{3DFCA6BA-3223-E31B-79E9-85BD07243EBC}"/>
          </ac:picMkLst>
        </pc:picChg>
      </pc:sldChg>
      <pc:sldChg chg="modCm">
        <pc:chgData name="Jun Xu" userId="16503f38-d1f6-4183-be87-545c60b6292a" providerId="ADAL" clId="{682977DF-347D-014C-94AB-8C792420946F}" dt="2024-03-26T00:19:02.983" v="822" actId="2056"/>
        <pc:sldMkLst>
          <pc:docMk/>
          <pc:sldMk cId="1537990309" sldId="2147482150"/>
        </pc:sldMkLst>
      </pc:sldChg>
      <pc:sldChg chg="ord modCm">
        <pc:chgData name="Jun Xu" userId="16503f38-d1f6-4183-be87-545c60b6292a" providerId="ADAL" clId="{682977DF-347D-014C-94AB-8C792420946F}" dt="2024-03-26T16:10:40.152" v="1144"/>
        <pc:sldMkLst>
          <pc:docMk/>
          <pc:sldMk cId="2116408602" sldId="2147482151"/>
        </pc:sldMkLst>
      </pc:sldChg>
      <pc:sldChg chg="modSp mod modCm">
        <pc:chgData name="Jun Xu" userId="16503f38-d1f6-4183-be87-545c60b6292a" providerId="ADAL" clId="{682977DF-347D-014C-94AB-8C792420946F}" dt="2024-04-10T21:11:52.871" v="1372"/>
        <pc:sldMkLst>
          <pc:docMk/>
          <pc:sldMk cId="1299719781" sldId="2147482156"/>
        </pc:sldMkLst>
        <pc:spChg chg="mod">
          <ac:chgData name="Jun Xu" userId="16503f38-d1f6-4183-be87-545c60b6292a" providerId="ADAL" clId="{682977DF-347D-014C-94AB-8C792420946F}" dt="2024-04-10T20:58:17.002" v="1290" actId="1076"/>
          <ac:spMkLst>
            <pc:docMk/>
            <pc:sldMk cId="1299719781" sldId="2147482156"/>
            <ac:spMk id="2" creationId="{799A07E3-837A-C468-4205-E6A3E394E0C9}"/>
          </ac:spMkLst>
        </pc:spChg>
        <pc:spChg chg="mod">
          <ac:chgData name="Jun Xu" userId="16503f38-d1f6-4183-be87-545c60b6292a" providerId="ADAL" clId="{682977DF-347D-014C-94AB-8C792420946F}" dt="2024-04-10T21:10:16.263" v="1337" actId="1076"/>
          <ac:spMkLst>
            <pc:docMk/>
            <pc:sldMk cId="1299719781" sldId="2147482156"/>
            <ac:spMk id="4" creationId="{A4CF3EBE-D41B-E718-2FDF-398D0706406B}"/>
          </ac:spMkLst>
        </pc:spChg>
        <pc:spChg chg="mod">
          <ac:chgData name="Jun Xu" userId="16503f38-d1f6-4183-be87-545c60b6292a" providerId="ADAL" clId="{682977DF-347D-014C-94AB-8C792420946F}" dt="2024-04-10T21:10:39.694" v="1371" actId="113"/>
          <ac:spMkLst>
            <pc:docMk/>
            <pc:sldMk cId="1299719781" sldId="2147482156"/>
            <ac:spMk id="10" creationId="{EB19EFDB-B495-5E2D-8C0F-A4CD4799D8B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un Xu" userId="16503f38-d1f6-4183-be87-545c60b6292a" providerId="ADAL" clId="{682977DF-347D-014C-94AB-8C792420946F}" dt="2024-04-10T21:11:52.871" v="1372"/>
              <pc2:cmMkLst xmlns:pc2="http://schemas.microsoft.com/office/powerpoint/2019/9/main/command">
                <pc:docMk/>
                <pc:sldMk cId="1299719781" sldId="2147482156"/>
                <pc2:cmMk id="{8156AA9C-47B8-4F77-BBA6-1C855EE557B7}"/>
              </pc2:cmMkLst>
              <pc226:cmRplyChg chg="add">
                <pc226:chgData name="Jun Xu" userId="16503f38-d1f6-4183-be87-545c60b6292a" providerId="ADAL" clId="{682977DF-347D-014C-94AB-8C792420946F}" dt="2024-04-10T21:11:52.871" v="1372"/>
                <pc2:cmRplyMkLst xmlns:pc2="http://schemas.microsoft.com/office/powerpoint/2019/9/main/command">
                  <pc:docMk/>
                  <pc:sldMk cId="1299719781" sldId="2147482156"/>
                  <pc2:cmMk id="{8156AA9C-47B8-4F77-BBA6-1C855EE557B7}"/>
                  <pc2:cmRplyMk id="{AEC0D75D-7D98-B540-BF85-887C9EB32FE3}"/>
                </pc2:cmRplyMkLst>
              </pc226:cmRplyChg>
            </pc226:cmChg>
          </p:ext>
        </pc:extLst>
      </pc:sldChg>
    </pc:docChg>
  </pc:docChgLst>
  <pc:docChgLst>
    <pc:chgData name="Jason Melehani" userId="S::jason.melehani@gilead.com::93603e9a-d746-4d7c-89da-7c5ef8b091f7" providerId="AD" clId="Web-{BD703615-B4CA-F432-CE0B-628BD1C4CCF6}"/>
    <pc:docChg chg="modSld">
      <pc:chgData name="Jason Melehani" userId="S::jason.melehani@gilead.com::93603e9a-d746-4d7c-89da-7c5ef8b091f7" providerId="AD" clId="Web-{BD703615-B4CA-F432-CE0B-628BD1C4CCF6}" dt="2024-03-26T21:38:04.302" v="6"/>
      <pc:docMkLst>
        <pc:docMk/>
      </pc:docMkLst>
      <pc:sldChg chg="modCm">
        <pc:chgData name="Jason Melehani" userId="S::jason.melehani@gilead.com::93603e9a-d746-4d7c-89da-7c5ef8b091f7" providerId="AD" clId="Web-{BD703615-B4CA-F432-CE0B-628BD1C4CCF6}" dt="2024-03-26T21:34:20.886" v="0"/>
        <pc:sldMkLst>
          <pc:docMk/>
          <pc:sldMk cId="1280071501" sldId="2146847862"/>
        </pc:sldMkLst>
      </pc:sldChg>
      <pc:sldChg chg="modSp modCm">
        <pc:chgData name="Jason Melehani" userId="S::jason.melehani@gilead.com::93603e9a-d746-4d7c-89da-7c5ef8b091f7" providerId="AD" clId="Web-{BD703615-B4CA-F432-CE0B-628BD1C4CCF6}" dt="2024-03-26T21:36:19.204" v="5"/>
        <pc:sldMkLst>
          <pc:docMk/>
          <pc:sldMk cId="3998398124" sldId="2146847936"/>
        </pc:sldMkLst>
        <pc:spChg chg="mod">
          <ac:chgData name="Jason Melehani" userId="S::jason.melehani@gilead.com::93603e9a-d746-4d7c-89da-7c5ef8b091f7" providerId="AD" clId="Web-{BD703615-B4CA-F432-CE0B-628BD1C4CCF6}" dt="2024-03-26T21:36:04.797" v="4" actId="1076"/>
          <ac:spMkLst>
            <pc:docMk/>
            <pc:sldMk cId="3998398124" sldId="2146847936"/>
            <ac:spMk id="5" creationId="{6ADF52A1-DCD6-D6C7-6C30-2067B4984EE7}"/>
          </ac:spMkLst>
        </pc:spChg>
        <pc:grpChg chg="mod">
          <ac:chgData name="Jason Melehani" userId="S::jason.melehani@gilead.com::93603e9a-d746-4d7c-89da-7c5ef8b091f7" providerId="AD" clId="Web-{BD703615-B4CA-F432-CE0B-628BD1C4CCF6}" dt="2024-03-26T21:36:01.297" v="3" actId="1076"/>
          <ac:grpSpMkLst>
            <pc:docMk/>
            <pc:sldMk cId="3998398124" sldId="2146847936"/>
            <ac:grpSpMk id="7" creationId="{95F08169-ACA1-EACD-BF43-4632202DCDE2}"/>
          </ac:grpSpMkLst>
        </pc:grpChg>
      </pc:sldChg>
      <pc:sldChg chg="modCm">
        <pc:chgData name="Jason Melehani" userId="S::jason.melehani@gilead.com::93603e9a-d746-4d7c-89da-7c5ef8b091f7" providerId="AD" clId="Web-{BD703615-B4CA-F432-CE0B-628BD1C4CCF6}" dt="2024-03-26T21:38:04.302" v="6"/>
        <pc:sldMkLst>
          <pc:docMk/>
          <pc:sldMk cId="2923371731" sldId="2147479473"/>
        </pc:sldMkLst>
      </pc:sldChg>
    </pc:docChg>
  </pc:docChgLst>
  <pc:docChgLst>
    <pc:chgData name="Xiaomin Lu" userId="42419631-bd19-4e2d-8d0e-2a49042d0d37" providerId="ADAL" clId="{3CC76165-1AC1-4005-9E4E-08017C9BE7B1}"/>
    <pc:docChg chg="undo custSel modSld">
      <pc:chgData name="Xiaomin Lu" userId="42419631-bd19-4e2d-8d0e-2a49042d0d37" providerId="ADAL" clId="{3CC76165-1AC1-4005-9E4E-08017C9BE7B1}" dt="2024-05-14T19:00:25.311" v="56" actId="20577"/>
      <pc:docMkLst>
        <pc:docMk/>
      </pc:docMkLst>
      <pc:sldChg chg="modSp mod">
        <pc:chgData name="Xiaomin Lu" userId="42419631-bd19-4e2d-8d0e-2a49042d0d37" providerId="ADAL" clId="{3CC76165-1AC1-4005-9E4E-08017C9BE7B1}" dt="2024-05-14T17:55:48.060" v="17" actId="6549"/>
        <pc:sldMkLst>
          <pc:docMk/>
          <pc:sldMk cId="3183540392" sldId="2147479420"/>
        </pc:sldMkLst>
        <pc:spChg chg="mod">
          <ac:chgData name="Xiaomin Lu" userId="42419631-bd19-4e2d-8d0e-2a49042d0d37" providerId="ADAL" clId="{3CC76165-1AC1-4005-9E4E-08017C9BE7B1}" dt="2024-05-10T15:52:59.337" v="16" actId="20577"/>
          <ac:spMkLst>
            <pc:docMk/>
            <pc:sldMk cId="3183540392" sldId="2147479420"/>
            <ac:spMk id="28" creationId="{8E538367-20F8-5211-0652-1A9893E31291}"/>
          </ac:spMkLst>
        </pc:spChg>
        <pc:graphicFrameChg chg="modGraphic">
          <ac:chgData name="Xiaomin Lu" userId="42419631-bd19-4e2d-8d0e-2a49042d0d37" providerId="ADAL" clId="{3CC76165-1AC1-4005-9E4E-08017C9BE7B1}" dt="2024-05-14T17:55:48.060" v="17" actId="6549"/>
          <ac:graphicFrameMkLst>
            <pc:docMk/>
            <pc:sldMk cId="3183540392" sldId="2147479420"/>
            <ac:graphicFrameMk id="42" creationId="{6969D883-7E1C-7CE9-A35B-54977D69C2D6}"/>
          </ac:graphicFrameMkLst>
        </pc:graphicFrameChg>
      </pc:sldChg>
      <pc:sldChg chg="modSp mod modCm">
        <pc:chgData name="Xiaomin Lu" userId="42419631-bd19-4e2d-8d0e-2a49042d0d37" providerId="ADAL" clId="{3CC76165-1AC1-4005-9E4E-08017C9BE7B1}" dt="2024-05-14T18:56:32.986" v="49" actId="6549"/>
        <pc:sldMkLst>
          <pc:docMk/>
          <pc:sldMk cId="2761666500" sldId="2147479478"/>
        </pc:sldMkLst>
        <pc:graphicFrameChg chg="modGraphic">
          <ac:chgData name="Xiaomin Lu" userId="42419631-bd19-4e2d-8d0e-2a49042d0d37" providerId="ADAL" clId="{3CC76165-1AC1-4005-9E4E-08017C9BE7B1}" dt="2024-05-14T18:56:32.986" v="49" actId="6549"/>
          <ac:graphicFrameMkLst>
            <pc:docMk/>
            <pc:sldMk cId="2761666500" sldId="2147479478"/>
            <ac:graphicFrameMk id="3" creationId="{1BB599FD-6071-5C0B-0CCF-0A8634E74972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3CC76165-1AC1-4005-9E4E-08017C9BE7B1}" dt="2024-05-14T18:56:32.986" v="49" actId="6549"/>
              <pc2:cmMkLst xmlns:pc2="http://schemas.microsoft.com/office/powerpoint/2019/9/main/command">
                <pc:docMk/>
                <pc:sldMk cId="2761666500" sldId="2147479478"/>
                <pc2:cmMk id="{15AF870A-8F78-4ACA-8602-276CB9CDE958}"/>
              </pc2:cmMkLst>
            </pc226:cmChg>
          </p:ext>
        </pc:extLst>
      </pc:sldChg>
      <pc:sldChg chg="modSp mod modCm">
        <pc:chgData name="Xiaomin Lu" userId="42419631-bd19-4e2d-8d0e-2a49042d0d37" providerId="ADAL" clId="{3CC76165-1AC1-4005-9E4E-08017C9BE7B1}" dt="2024-05-14T19:00:25.311" v="56" actId="20577"/>
        <pc:sldMkLst>
          <pc:docMk/>
          <pc:sldMk cId="3823604198" sldId="2147482147"/>
        </pc:sldMkLst>
        <pc:spChg chg="mod">
          <ac:chgData name="Xiaomin Lu" userId="42419631-bd19-4e2d-8d0e-2a49042d0d37" providerId="ADAL" clId="{3CC76165-1AC1-4005-9E4E-08017C9BE7B1}" dt="2024-05-14T19:00:25.311" v="56" actId="20577"/>
          <ac:spMkLst>
            <pc:docMk/>
            <pc:sldMk cId="3823604198" sldId="2147482147"/>
            <ac:spMk id="6" creationId="{D7F8D335-8318-E666-BC23-74EEACE0A34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3CC76165-1AC1-4005-9E4E-08017C9BE7B1}" dt="2024-05-14T19:00:25.311" v="56" actId="20577"/>
              <pc2:cmMkLst xmlns:pc2="http://schemas.microsoft.com/office/powerpoint/2019/9/main/command">
                <pc:docMk/>
                <pc:sldMk cId="3823604198" sldId="2147482147"/>
                <pc2:cmMk id="{B4EAAFE5-650A-4F92-AD20-E221DDC87BE3}"/>
              </pc2:cmMkLst>
            </pc226:cmChg>
          </p:ext>
        </pc:extLst>
      </pc:sldChg>
      <pc:sldChg chg="modSp mod">
        <pc:chgData name="Xiaomin Lu" userId="42419631-bd19-4e2d-8d0e-2a49042d0d37" providerId="ADAL" clId="{3CC76165-1AC1-4005-9E4E-08017C9BE7B1}" dt="2024-05-14T18:53:13.418" v="35" actId="20577"/>
        <pc:sldMkLst>
          <pc:docMk/>
          <pc:sldMk cId="1832365024" sldId="2147482149"/>
        </pc:sldMkLst>
        <pc:spChg chg="mod">
          <ac:chgData name="Xiaomin Lu" userId="42419631-bd19-4e2d-8d0e-2a49042d0d37" providerId="ADAL" clId="{3CC76165-1AC1-4005-9E4E-08017C9BE7B1}" dt="2024-05-14T18:53:13.418" v="35" actId="20577"/>
          <ac:spMkLst>
            <pc:docMk/>
            <pc:sldMk cId="1832365024" sldId="2147482149"/>
            <ac:spMk id="17" creationId="{83B2A1A6-EB85-8213-E029-E1F710F3C921}"/>
          </ac:spMkLst>
        </pc:spChg>
      </pc:sldChg>
      <pc:sldChg chg="addCm delCm modCm">
        <pc:chgData name="Xiaomin Lu" userId="42419631-bd19-4e2d-8d0e-2a49042d0d37" providerId="ADAL" clId="{3CC76165-1AC1-4005-9E4E-08017C9BE7B1}" dt="2024-05-14T18:40:00.919" v="27"/>
        <pc:sldMkLst>
          <pc:docMk/>
          <pc:sldMk cId="70275736" sldId="214748215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Xiaomin Lu" userId="42419631-bd19-4e2d-8d0e-2a49042d0d37" providerId="ADAL" clId="{3CC76165-1AC1-4005-9E4E-08017C9BE7B1}" dt="2024-05-14T18:40:00.919" v="27"/>
              <pc2:cmMkLst xmlns:pc2="http://schemas.microsoft.com/office/powerpoint/2019/9/main/command">
                <pc:docMk/>
                <pc:sldMk cId="70275736" sldId="2147482152"/>
                <pc2:cmMk id="{52D5BFCA-1C99-48C3-B563-0FA15C73BDFC}"/>
              </pc2:cmMkLst>
            </pc226:cmChg>
          </p:ext>
        </pc:extLst>
      </pc:sldChg>
      <pc:sldChg chg="modSp mod">
        <pc:chgData name="Xiaomin Lu" userId="42419631-bd19-4e2d-8d0e-2a49042d0d37" providerId="ADAL" clId="{3CC76165-1AC1-4005-9E4E-08017C9BE7B1}" dt="2024-05-14T18:37:15.469" v="25" actId="20577"/>
        <pc:sldMkLst>
          <pc:docMk/>
          <pc:sldMk cId="896328540" sldId="2147482153"/>
        </pc:sldMkLst>
        <pc:spChg chg="mod">
          <ac:chgData name="Xiaomin Lu" userId="42419631-bd19-4e2d-8d0e-2a49042d0d37" providerId="ADAL" clId="{3CC76165-1AC1-4005-9E4E-08017C9BE7B1}" dt="2024-05-14T18:37:15.469" v="25" actId="20577"/>
          <ac:spMkLst>
            <pc:docMk/>
            <pc:sldMk cId="896328540" sldId="2147482153"/>
            <ac:spMk id="394" creationId="{A53A88F1-B1C8-CC0B-8E0E-6C37074DCDA3}"/>
          </ac:spMkLst>
        </pc:spChg>
        <pc:spChg chg="mod">
          <ac:chgData name="Xiaomin Lu" userId="42419631-bd19-4e2d-8d0e-2a49042d0d37" providerId="ADAL" clId="{3CC76165-1AC1-4005-9E4E-08017C9BE7B1}" dt="2024-05-14T18:37:10.585" v="19"/>
          <ac:spMkLst>
            <pc:docMk/>
            <pc:sldMk cId="896328540" sldId="2147482153"/>
            <ac:spMk id="396" creationId="{CAEA1D50-06AE-AED6-B894-68843D202B27}"/>
          </ac:spMkLst>
        </pc:spChg>
      </pc:sldChg>
    </pc:docChg>
  </pc:docChgLst>
  <pc:docChgLst>
    <pc:chgData name="Shahla Bolbolan" userId="S::shahla.bolbolan@gilead.com::4e5faef4-051b-4adc-b291-0d435384080a" providerId="AD" clId="Web-{999DD138-CD13-D7DB-9996-3A501C6B831B}"/>
    <pc:docChg chg="modSld">
      <pc:chgData name="Shahla Bolbolan" userId="S::shahla.bolbolan@gilead.com::4e5faef4-051b-4adc-b291-0d435384080a" providerId="AD" clId="Web-{999DD138-CD13-D7DB-9996-3A501C6B831B}" dt="2024-03-19T01:13:03.949" v="85"/>
      <pc:docMkLst>
        <pc:docMk/>
      </pc:docMkLst>
      <pc:sldChg chg="modSp">
        <pc:chgData name="Shahla Bolbolan" userId="S::shahla.bolbolan@gilead.com::4e5faef4-051b-4adc-b291-0d435384080a" providerId="AD" clId="Web-{999DD138-CD13-D7DB-9996-3A501C6B831B}" dt="2024-03-19T01:13:03.949" v="85"/>
        <pc:sldMkLst>
          <pc:docMk/>
          <pc:sldMk cId="283463880" sldId="2147479465"/>
        </pc:sldMkLst>
        <pc:graphicFrameChg chg="mod modGraphic">
          <ac:chgData name="Shahla Bolbolan" userId="S::shahla.bolbolan@gilead.com::4e5faef4-051b-4adc-b291-0d435384080a" providerId="AD" clId="Web-{999DD138-CD13-D7DB-9996-3A501C6B831B}" dt="2024-03-19T01:13:03.949" v="85"/>
          <ac:graphicFrameMkLst>
            <pc:docMk/>
            <pc:sldMk cId="283463880" sldId="2147479465"/>
            <ac:graphicFrameMk id="7" creationId="{AA31E999-98B8-D9FB-C6BF-4C1931DEE598}"/>
          </ac:graphicFrameMkLst>
        </pc:graphicFrameChg>
      </pc:sldChg>
    </pc:docChg>
  </pc:docChgLst>
  <pc:docChgLst>
    <pc:chgData name="Marion Tseng" userId="18508eef-9284-4bec-aa8e-3b4d0d543f0c" providerId="ADAL" clId="{8A01E86D-1CBF-4C6F-B264-40F16E521788}"/>
    <pc:docChg chg="undo custSel addSld modSld">
      <pc:chgData name="Marion Tseng" userId="18508eef-9284-4bec-aa8e-3b4d0d543f0c" providerId="ADAL" clId="{8A01E86D-1CBF-4C6F-B264-40F16E521788}" dt="2024-05-16T16:14:23.588" v="46" actId="1076"/>
      <pc:docMkLst>
        <pc:docMk/>
      </pc:docMkLst>
      <pc:sldChg chg="addSp modSp mod">
        <pc:chgData name="Marion Tseng" userId="18508eef-9284-4bec-aa8e-3b4d0d543f0c" providerId="ADAL" clId="{8A01E86D-1CBF-4C6F-B264-40F16E521788}" dt="2024-05-16T16:14:23.588" v="46" actId="1076"/>
        <pc:sldMkLst>
          <pc:docMk/>
          <pc:sldMk cId="353268450" sldId="8356"/>
        </pc:sldMkLst>
        <pc:spChg chg="mod">
          <ac:chgData name="Marion Tseng" userId="18508eef-9284-4bec-aa8e-3b4d0d543f0c" providerId="ADAL" clId="{8A01E86D-1CBF-4C6F-B264-40F16E521788}" dt="2024-05-16T16:14:23.588" v="46" actId="1076"/>
          <ac:spMkLst>
            <pc:docMk/>
            <pc:sldMk cId="353268450" sldId="8356"/>
            <ac:spMk id="2" creationId="{981A2D0E-4A7C-5F97-E175-34A037AB41AB}"/>
          </ac:spMkLst>
        </pc:spChg>
        <pc:spChg chg="add mod">
          <ac:chgData name="Marion Tseng" userId="18508eef-9284-4bec-aa8e-3b4d0d543f0c" providerId="ADAL" clId="{8A01E86D-1CBF-4C6F-B264-40F16E521788}" dt="2024-05-16T16:14:15.710" v="45"/>
          <ac:spMkLst>
            <pc:docMk/>
            <pc:sldMk cId="353268450" sldId="8356"/>
            <ac:spMk id="6" creationId="{6940432E-05B5-F8ED-FE2E-DC1C69F02144}"/>
          </ac:spMkLst>
        </pc:spChg>
        <pc:graphicFrameChg chg="mod">
          <ac:chgData name="Marion Tseng" userId="18508eef-9284-4bec-aa8e-3b4d0d543f0c" providerId="ADAL" clId="{8A01E86D-1CBF-4C6F-B264-40F16E521788}" dt="2024-05-16T16:11:01.733" v="37" actId="207"/>
          <ac:graphicFrameMkLst>
            <pc:docMk/>
            <pc:sldMk cId="353268450" sldId="8356"/>
            <ac:graphicFrameMk id="3" creationId="{8CF43053-86DA-B3F9-511A-502CF14A4FB7}"/>
          </ac:graphicFrameMkLst>
        </pc:graphicFrameChg>
      </pc:sldChg>
      <pc:sldChg chg="addSp delSp mod">
        <pc:chgData name="Marion Tseng" userId="18508eef-9284-4bec-aa8e-3b4d0d543f0c" providerId="ADAL" clId="{8A01E86D-1CBF-4C6F-B264-40F16E521788}" dt="2024-05-16T16:05:24.621" v="1" actId="22"/>
        <pc:sldMkLst>
          <pc:docMk/>
          <pc:sldMk cId="1858045540" sldId="2147479482"/>
        </pc:sldMkLst>
        <pc:spChg chg="add del">
          <ac:chgData name="Marion Tseng" userId="18508eef-9284-4bec-aa8e-3b4d0d543f0c" providerId="ADAL" clId="{8A01E86D-1CBF-4C6F-B264-40F16E521788}" dt="2024-05-16T16:05:24.621" v="1" actId="22"/>
          <ac:spMkLst>
            <pc:docMk/>
            <pc:sldMk cId="1858045540" sldId="2147479482"/>
            <ac:spMk id="6" creationId="{901B67B3-9730-792F-7A4B-3872ABA076A6}"/>
          </ac:spMkLst>
        </pc:spChg>
      </pc:sldChg>
      <pc:sldChg chg="modSp add mod">
        <pc:chgData name="Marion Tseng" userId="18508eef-9284-4bec-aa8e-3b4d0d543f0c" providerId="ADAL" clId="{8A01E86D-1CBF-4C6F-B264-40F16E521788}" dt="2024-05-16T16:06:28.091" v="23" actId="20577"/>
        <pc:sldMkLst>
          <pc:docMk/>
          <pc:sldMk cId="4115873981" sldId="2147482157"/>
        </pc:sldMkLst>
        <pc:spChg chg="mod">
          <ac:chgData name="Marion Tseng" userId="18508eef-9284-4bec-aa8e-3b4d0d543f0c" providerId="ADAL" clId="{8A01E86D-1CBF-4C6F-B264-40F16E521788}" dt="2024-05-16T16:06:28.091" v="23" actId="20577"/>
          <ac:spMkLst>
            <pc:docMk/>
            <pc:sldMk cId="4115873981" sldId="2147482157"/>
            <ac:spMk id="2" creationId="{2EE1EC38-29B0-75F9-5AD4-D0ABCA87157B}"/>
          </ac:spMkLst>
        </pc:spChg>
      </pc:sldChg>
    </pc:docChg>
  </pc:docChgLst>
  <pc:docChgLst>
    <pc:chgData name="Priyanka Kothari" userId="S::priyanka.kothari@gilead.com::844d38ee-77e1-4ed4-b127-f6566bc16dd9" providerId="AD" clId="Web-{D2F82A08-2F2A-5FC5-5537-06E8855CC9D5}"/>
    <pc:docChg chg="sldOrd">
      <pc:chgData name="Priyanka Kothari" userId="S::priyanka.kothari@gilead.com::844d38ee-77e1-4ed4-b127-f6566bc16dd9" providerId="AD" clId="Web-{D2F82A08-2F2A-5FC5-5537-06E8855CC9D5}" dt="2024-05-15T17:56:36.439" v="0"/>
      <pc:docMkLst>
        <pc:docMk/>
      </pc:docMkLst>
      <pc:sldChg chg="ord">
        <pc:chgData name="Priyanka Kothari" userId="S::priyanka.kothari@gilead.com::844d38ee-77e1-4ed4-b127-f6566bc16dd9" providerId="AD" clId="Web-{D2F82A08-2F2A-5FC5-5537-06E8855CC9D5}" dt="2024-05-15T17:56:36.439" v="0"/>
        <pc:sldMkLst>
          <pc:docMk/>
          <pc:sldMk cId="1299719781" sldId="2147482156"/>
        </pc:sldMkLst>
      </pc:sldChg>
    </pc:docChg>
  </pc:docChgLst>
  <pc:docChgLst>
    <pc:chgData name="Xiaomin Lu" userId="42419631-bd19-4e2d-8d0e-2a49042d0d37" providerId="ADAL" clId="{78A45D93-1111-4DB5-97F1-8A4CF417E19A}"/>
    <pc:docChg chg="custSel modSld">
      <pc:chgData name="Xiaomin Lu" userId="42419631-bd19-4e2d-8d0e-2a49042d0d37" providerId="ADAL" clId="{78A45D93-1111-4DB5-97F1-8A4CF417E19A}" dt="2024-05-22T21:19:25.008" v="109"/>
      <pc:docMkLst>
        <pc:docMk/>
      </pc:docMkLst>
      <pc:sldChg chg="modSp mod">
        <pc:chgData name="Xiaomin Lu" userId="42419631-bd19-4e2d-8d0e-2a49042d0d37" providerId="ADAL" clId="{78A45D93-1111-4DB5-97F1-8A4CF417E19A}" dt="2024-05-21T19:13:15.676" v="61" actId="14100"/>
        <pc:sldMkLst>
          <pc:docMk/>
          <pc:sldMk cId="1086338696" sldId="2146847517"/>
        </pc:sldMkLst>
        <pc:spChg chg="mod">
          <ac:chgData name="Xiaomin Lu" userId="42419631-bd19-4e2d-8d0e-2a49042d0d37" providerId="ADAL" clId="{78A45D93-1111-4DB5-97F1-8A4CF417E19A}" dt="2024-05-21T19:13:15.676" v="61" actId="14100"/>
          <ac:spMkLst>
            <pc:docMk/>
            <pc:sldMk cId="1086338696" sldId="2146847517"/>
            <ac:spMk id="4" creationId="{1DDEF487-2860-998C-CF23-02CE20D27640}"/>
          </ac:spMkLst>
        </pc:spChg>
      </pc:sldChg>
      <pc:sldChg chg="modSp mod delCm">
        <pc:chgData name="Xiaomin Lu" userId="42419631-bd19-4e2d-8d0e-2a49042d0d37" providerId="ADAL" clId="{78A45D93-1111-4DB5-97F1-8A4CF417E19A}" dt="2024-05-21T21:02:32.416" v="88"/>
        <pc:sldMkLst>
          <pc:docMk/>
          <pc:sldMk cId="4028545561" sldId="2146847861"/>
        </pc:sldMkLst>
        <pc:graphicFrameChg chg="mod modGraphic">
          <ac:chgData name="Xiaomin Lu" userId="42419631-bd19-4e2d-8d0e-2a49042d0d37" providerId="ADAL" clId="{78A45D93-1111-4DB5-97F1-8A4CF417E19A}" dt="2024-05-21T21:02:32.416" v="88"/>
          <ac:graphicFrameMkLst>
            <pc:docMk/>
            <pc:sldMk cId="4028545561" sldId="2146847861"/>
            <ac:graphicFrameMk id="5" creationId="{A393DBB8-2423-4FDF-B05F-690F1B1DE38F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Xiaomin Lu" userId="42419631-bd19-4e2d-8d0e-2a49042d0d37" providerId="ADAL" clId="{78A45D93-1111-4DB5-97F1-8A4CF417E19A}" dt="2024-05-16T00:52:02.594" v="3"/>
              <pc2:cmMkLst xmlns:pc2="http://schemas.microsoft.com/office/powerpoint/2019/9/main/command">
                <pc:docMk/>
                <pc:sldMk cId="4028545561" sldId="2146847861"/>
                <pc2:cmMk id="{C86DD66C-9047-4DF3-9CB9-46F80185C2F4}"/>
              </pc2:cmMkLst>
            </pc226:cmChg>
          </p:ext>
        </pc:extLst>
      </pc:sldChg>
      <pc:sldChg chg="modSp mod">
        <pc:chgData name="Xiaomin Lu" userId="42419631-bd19-4e2d-8d0e-2a49042d0d37" providerId="ADAL" clId="{78A45D93-1111-4DB5-97F1-8A4CF417E19A}" dt="2024-05-21T21:02:42.950" v="90" actId="1076"/>
        <pc:sldMkLst>
          <pc:docMk/>
          <pc:sldMk cId="1280071501" sldId="2146847862"/>
        </pc:sldMkLst>
        <pc:graphicFrameChg chg="mod modGraphic">
          <ac:chgData name="Xiaomin Lu" userId="42419631-bd19-4e2d-8d0e-2a49042d0d37" providerId="ADAL" clId="{78A45D93-1111-4DB5-97F1-8A4CF417E19A}" dt="2024-05-21T21:02:42.950" v="90" actId="1076"/>
          <ac:graphicFrameMkLst>
            <pc:docMk/>
            <pc:sldMk cId="1280071501" sldId="2146847862"/>
            <ac:graphicFrameMk id="5" creationId="{A393DBB8-2423-4FDF-B05F-690F1B1DE38F}"/>
          </ac:graphicFrameMkLst>
        </pc:graphicFrameChg>
      </pc:sldChg>
      <pc:sldChg chg="modSp mod">
        <pc:chgData name="Xiaomin Lu" userId="42419631-bd19-4e2d-8d0e-2a49042d0d37" providerId="ADAL" clId="{78A45D93-1111-4DB5-97F1-8A4CF417E19A}" dt="2024-05-20T21:48:43.894" v="21" actId="20577"/>
        <pc:sldMkLst>
          <pc:docMk/>
          <pc:sldMk cId="2212317420" sldId="2146847938"/>
        </pc:sldMkLst>
        <pc:spChg chg="mod">
          <ac:chgData name="Xiaomin Lu" userId="42419631-bd19-4e2d-8d0e-2a49042d0d37" providerId="ADAL" clId="{78A45D93-1111-4DB5-97F1-8A4CF417E19A}" dt="2024-05-20T21:48:43.894" v="21" actId="20577"/>
          <ac:spMkLst>
            <pc:docMk/>
            <pc:sldMk cId="2212317420" sldId="2146847938"/>
            <ac:spMk id="4" creationId="{BF5B135B-1B07-5516-1C64-BFB78718F221}"/>
          </ac:spMkLst>
        </pc:spChg>
      </pc:sldChg>
      <pc:sldChg chg="modCm">
        <pc:chgData name="Xiaomin Lu" userId="42419631-bd19-4e2d-8d0e-2a49042d0d37" providerId="ADAL" clId="{78A45D93-1111-4DB5-97F1-8A4CF417E19A}" dt="2024-05-20T21:56:48.594" v="29"/>
        <pc:sldMkLst>
          <pc:docMk/>
          <pc:sldMk cId="3183540392" sldId="214747942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6:48.594" v="29"/>
              <pc2:cmMkLst xmlns:pc2="http://schemas.microsoft.com/office/powerpoint/2019/9/main/command">
                <pc:docMk/>
                <pc:sldMk cId="3183540392" sldId="2147479420"/>
                <pc2:cmMk id="{E2A9B973-8013-4B18-8CA8-FE12A92E0AAB}"/>
              </pc2:cmMkLst>
            </pc226:cmChg>
          </p:ext>
        </pc:extLst>
      </pc:sldChg>
      <pc:sldChg chg="modAnim">
        <pc:chgData name="Xiaomin Lu" userId="42419631-bd19-4e2d-8d0e-2a49042d0d37" providerId="ADAL" clId="{78A45D93-1111-4DB5-97F1-8A4CF417E19A}" dt="2024-05-22T21:19:25.008" v="109"/>
        <pc:sldMkLst>
          <pc:docMk/>
          <pc:sldMk cId="3151860006" sldId="2147479462"/>
        </pc:sldMkLst>
      </pc:sldChg>
      <pc:sldChg chg="addSp delSp modSp mod delCm">
        <pc:chgData name="Xiaomin Lu" userId="42419631-bd19-4e2d-8d0e-2a49042d0d37" providerId="ADAL" clId="{78A45D93-1111-4DB5-97F1-8A4CF417E19A}" dt="2024-05-20T21:54:22.335" v="23"/>
        <pc:sldMkLst>
          <pc:docMk/>
          <pc:sldMk cId="2923371731" sldId="2147479473"/>
        </pc:sldMkLst>
        <pc:picChg chg="del">
          <ac:chgData name="Xiaomin Lu" userId="42419631-bd19-4e2d-8d0e-2a49042d0d37" providerId="ADAL" clId="{78A45D93-1111-4DB5-97F1-8A4CF417E19A}" dt="2024-05-20T21:47:09.397" v="4" actId="478"/>
          <ac:picMkLst>
            <pc:docMk/>
            <pc:sldMk cId="2923371731" sldId="2147479473"/>
            <ac:picMk id="3" creationId="{245D0A71-65CE-BD19-7270-7393A8A78D07}"/>
          </ac:picMkLst>
        </pc:picChg>
        <pc:picChg chg="add mod">
          <ac:chgData name="Xiaomin Lu" userId="42419631-bd19-4e2d-8d0e-2a49042d0d37" providerId="ADAL" clId="{78A45D93-1111-4DB5-97F1-8A4CF417E19A}" dt="2024-05-20T21:47:09.727" v="5"/>
          <ac:picMkLst>
            <pc:docMk/>
            <pc:sldMk cId="2923371731" sldId="2147479473"/>
            <ac:picMk id="6" creationId="{7DDA8064-B539-7EE5-6760-294AE0D11E9A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Xiaomin Lu" userId="42419631-bd19-4e2d-8d0e-2a49042d0d37" providerId="ADAL" clId="{78A45D93-1111-4DB5-97F1-8A4CF417E19A}" dt="2024-05-20T21:54:22.335" v="23"/>
              <pc2:cmMkLst xmlns:pc2="http://schemas.microsoft.com/office/powerpoint/2019/9/main/command">
                <pc:docMk/>
                <pc:sldMk cId="2923371731" sldId="2147479473"/>
                <pc2:cmMk id="{A962503A-3585-4481-BE39-3CC1A40F4595}"/>
              </pc2:cmMkLst>
            </pc226:cmChg>
            <pc226:cmChg xmlns:pc226="http://schemas.microsoft.com/office/powerpoint/2022/06/main/command" chg="del">
              <pc226:chgData name="Xiaomin Lu" userId="42419631-bd19-4e2d-8d0e-2a49042d0d37" providerId="ADAL" clId="{78A45D93-1111-4DB5-97F1-8A4CF417E19A}" dt="2024-05-16T00:51:20.653" v="1"/>
              <pc2:cmMkLst xmlns:pc2="http://schemas.microsoft.com/office/powerpoint/2019/9/main/command">
                <pc:docMk/>
                <pc:sldMk cId="2923371731" sldId="2147479473"/>
                <pc2:cmMk id="{31EF6573-CCDE-40AE-81A2-DDBE30D4A005}"/>
              </pc2:cmMkLst>
            </pc226:cmChg>
          </p:ext>
        </pc:extLst>
      </pc:sldChg>
      <pc:sldChg chg="addSp delSp modSp mod">
        <pc:chgData name="Xiaomin Lu" userId="42419631-bd19-4e2d-8d0e-2a49042d0d37" providerId="ADAL" clId="{78A45D93-1111-4DB5-97F1-8A4CF417E19A}" dt="2024-05-20T21:47:27.028" v="7"/>
        <pc:sldMkLst>
          <pc:docMk/>
          <pc:sldMk cId="572539407" sldId="2147479474"/>
        </pc:sldMkLst>
        <pc:picChg chg="del">
          <ac:chgData name="Xiaomin Lu" userId="42419631-bd19-4e2d-8d0e-2a49042d0d37" providerId="ADAL" clId="{78A45D93-1111-4DB5-97F1-8A4CF417E19A}" dt="2024-05-20T21:47:23.314" v="6" actId="478"/>
          <ac:picMkLst>
            <pc:docMk/>
            <pc:sldMk cId="572539407" sldId="2147479474"/>
            <ac:picMk id="4" creationId="{571B70F2-A45A-FA67-3FBB-ACFF2216C91F}"/>
          </ac:picMkLst>
        </pc:picChg>
        <pc:picChg chg="add mod">
          <ac:chgData name="Xiaomin Lu" userId="42419631-bd19-4e2d-8d0e-2a49042d0d37" providerId="ADAL" clId="{78A45D93-1111-4DB5-97F1-8A4CF417E19A}" dt="2024-05-20T21:47:27.028" v="7"/>
          <ac:picMkLst>
            <pc:docMk/>
            <pc:sldMk cId="572539407" sldId="2147479474"/>
            <ac:picMk id="5" creationId="{06F0B4A0-26E7-A28C-E43C-05A869548CCA}"/>
          </ac:picMkLst>
        </pc:picChg>
      </pc:sldChg>
      <pc:sldChg chg="modSp mod modCm">
        <pc:chgData name="Xiaomin Lu" userId="42419631-bd19-4e2d-8d0e-2a49042d0d37" providerId="ADAL" clId="{78A45D93-1111-4DB5-97F1-8A4CF417E19A}" dt="2024-05-20T21:55:31.203" v="24"/>
        <pc:sldMkLst>
          <pc:docMk/>
          <pc:sldMk cId="2761666500" sldId="2147479478"/>
        </pc:sldMkLst>
        <pc:graphicFrameChg chg="modGraphic">
          <ac:chgData name="Xiaomin Lu" userId="42419631-bd19-4e2d-8d0e-2a49042d0d37" providerId="ADAL" clId="{78A45D93-1111-4DB5-97F1-8A4CF417E19A}" dt="2024-05-20T21:48:59.744" v="22" actId="20577"/>
          <ac:graphicFrameMkLst>
            <pc:docMk/>
            <pc:sldMk cId="2761666500" sldId="2147479478"/>
            <ac:graphicFrameMk id="3" creationId="{1BB599FD-6071-5C0B-0CCF-0A8634E74972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5:31.203" v="24"/>
              <pc2:cmMkLst xmlns:pc2="http://schemas.microsoft.com/office/powerpoint/2019/9/main/command">
                <pc:docMk/>
                <pc:sldMk cId="2761666500" sldId="2147479478"/>
                <pc2:cmMk id="{15AF870A-8F78-4ACA-8602-276CB9CDE958}"/>
              </pc2:cmMkLst>
            </pc226:cmChg>
          </p:ext>
        </pc:extLst>
      </pc:sldChg>
      <pc:sldChg chg="modCm">
        <pc:chgData name="Xiaomin Lu" userId="42419631-bd19-4e2d-8d0e-2a49042d0d37" providerId="ADAL" clId="{78A45D93-1111-4DB5-97F1-8A4CF417E19A}" dt="2024-05-20T21:58:14.027" v="34"/>
        <pc:sldMkLst>
          <pc:docMk/>
          <pc:sldMk cId="1858045540" sldId="214747948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8:14.027" v="34"/>
              <pc2:cmMkLst xmlns:pc2="http://schemas.microsoft.com/office/powerpoint/2019/9/main/command">
                <pc:docMk/>
                <pc:sldMk cId="1858045540" sldId="2147479482"/>
                <pc2:cmMk id="{30A6F8A8-0E0A-4AA4-AAD0-6B493D92A02F}"/>
              </pc2:cmMkLst>
            </pc226:cmChg>
          </p:ext>
        </pc:extLst>
      </pc:sldChg>
      <pc:sldChg chg="modCm">
        <pc:chgData name="Xiaomin Lu" userId="42419631-bd19-4e2d-8d0e-2a49042d0d37" providerId="ADAL" clId="{78A45D93-1111-4DB5-97F1-8A4CF417E19A}" dt="2024-05-20T21:56:12.107" v="27"/>
        <pc:sldMkLst>
          <pc:docMk/>
          <pc:sldMk cId="1566014954" sldId="21474794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6:08.441" v="26"/>
              <pc2:cmMkLst xmlns:pc2="http://schemas.microsoft.com/office/powerpoint/2019/9/main/command">
                <pc:docMk/>
                <pc:sldMk cId="1566014954" sldId="2147479483"/>
                <pc2:cmMk id="{7F8F703A-7007-483C-8084-0A4A853640F0}"/>
              </pc2:cmMkLst>
            </pc226:cmChg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6:12.107" v="27"/>
              <pc2:cmMkLst xmlns:pc2="http://schemas.microsoft.com/office/powerpoint/2019/9/main/command">
                <pc:docMk/>
                <pc:sldMk cId="1566014954" sldId="2147479483"/>
                <pc2:cmMk id="{48DE5595-3CA5-419F-8A9E-515C3C4C2ACD}"/>
              </pc2:cmMkLst>
            </pc226:cmChg>
          </p:ext>
        </pc:extLst>
      </pc:sldChg>
      <pc:sldChg chg="modCm">
        <pc:chgData name="Xiaomin Lu" userId="42419631-bd19-4e2d-8d0e-2a49042d0d37" providerId="ADAL" clId="{78A45D93-1111-4DB5-97F1-8A4CF417E19A}" dt="2024-05-20T21:56:41.887" v="28"/>
        <pc:sldMkLst>
          <pc:docMk/>
          <pc:sldMk cId="2853942534" sldId="214748212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6:41.887" v="28"/>
              <pc2:cmMkLst xmlns:pc2="http://schemas.microsoft.com/office/powerpoint/2019/9/main/command">
                <pc:docMk/>
                <pc:sldMk cId="2853942534" sldId="2147482124"/>
                <pc2:cmMk id="{AB2AE9A5-4CC9-4893-A687-2944EBE7C3A7}"/>
              </pc2:cmMkLst>
            </pc226:cmChg>
          </p:ext>
        </pc:extLst>
      </pc:sldChg>
      <pc:sldChg chg="modCm">
        <pc:chgData name="Xiaomin Lu" userId="42419631-bd19-4e2d-8d0e-2a49042d0d37" providerId="ADAL" clId="{78A45D93-1111-4DB5-97F1-8A4CF417E19A}" dt="2024-05-20T21:57:47.298" v="30"/>
        <pc:sldMkLst>
          <pc:docMk/>
          <pc:sldMk cId="1250735742" sldId="214748214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7:47.298" v="30"/>
              <pc2:cmMkLst xmlns:pc2="http://schemas.microsoft.com/office/powerpoint/2019/9/main/command">
                <pc:docMk/>
                <pc:sldMk cId="1250735742" sldId="2147482140"/>
                <pc2:cmMk id="{C331B25C-DC4C-46EB-9CC4-4EED06F590A9}"/>
              </pc2:cmMkLst>
            </pc226:cmChg>
          </p:ext>
        </pc:extLst>
      </pc:sldChg>
      <pc:sldChg chg="modSp mod">
        <pc:chgData name="Xiaomin Lu" userId="42419631-bd19-4e2d-8d0e-2a49042d0d37" providerId="ADAL" clId="{78A45D93-1111-4DB5-97F1-8A4CF417E19A}" dt="2024-05-16T00:47:44.682" v="0" actId="6549"/>
        <pc:sldMkLst>
          <pc:docMk/>
          <pc:sldMk cId="2837651119" sldId="2147482142"/>
        </pc:sldMkLst>
        <pc:spChg chg="mod">
          <ac:chgData name="Xiaomin Lu" userId="42419631-bd19-4e2d-8d0e-2a49042d0d37" providerId="ADAL" clId="{78A45D93-1111-4DB5-97F1-8A4CF417E19A}" dt="2024-05-16T00:47:44.682" v="0" actId="6549"/>
          <ac:spMkLst>
            <pc:docMk/>
            <pc:sldMk cId="2837651119" sldId="2147482142"/>
            <ac:spMk id="3" creationId="{7D836601-6754-9347-8E4F-019A9E8569EC}"/>
          </ac:spMkLst>
        </pc:spChg>
      </pc:sldChg>
      <pc:sldChg chg="modCm">
        <pc:chgData name="Xiaomin Lu" userId="42419631-bd19-4e2d-8d0e-2a49042d0d37" providerId="ADAL" clId="{78A45D93-1111-4DB5-97F1-8A4CF417E19A}" dt="2024-05-20T21:58:06.731" v="33"/>
        <pc:sldMkLst>
          <pc:docMk/>
          <pc:sldMk cId="361833081" sldId="214748214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8:06.731" v="33"/>
              <pc2:cmMkLst xmlns:pc2="http://schemas.microsoft.com/office/powerpoint/2019/9/main/command">
                <pc:docMk/>
                <pc:sldMk cId="361833081" sldId="2147482145"/>
                <pc2:cmMk id="{43611F5A-F858-4556-AC63-9BA15FD50E91}"/>
              </pc2:cmMkLst>
            </pc226:cmChg>
          </p:ext>
        </pc:extLst>
      </pc:sldChg>
      <pc:sldChg chg="delCm">
        <pc:chgData name="Xiaomin Lu" userId="42419631-bd19-4e2d-8d0e-2a49042d0d37" providerId="ADAL" clId="{78A45D93-1111-4DB5-97F1-8A4CF417E19A}" dt="2024-05-16T00:51:44.234" v="2"/>
        <pc:sldMkLst>
          <pc:docMk/>
          <pc:sldMk cId="3823604198" sldId="214748214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Xiaomin Lu" userId="42419631-bd19-4e2d-8d0e-2a49042d0d37" providerId="ADAL" clId="{78A45D93-1111-4DB5-97F1-8A4CF417E19A}" dt="2024-05-16T00:51:44.234" v="2"/>
              <pc2:cmMkLst xmlns:pc2="http://schemas.microsoft.com/office/powerpoint/2019/9/main/command">
                <pc:docMk/>
                <pc:sldMk cId="3823604198" sldId="2147482147"/>
                <pc2:cmMk id="{B4EAAFE5-650A-4F92-AD20-E221DDC87BE3}"/>
              </pc2:cmMkLst>
            </pc226:cmChg>
          </p:ext>
        </pc:extLst>
      </pc:sldChg>
      <pc:sldChg chg="modSp mod">
        <pc:chgData name="Xiaomin Lu" userId="42419631-bd19-4e2d-8d0e-2a49042d0d37" providerId="ADAL" clId="{78A45D93-1111-4DB5-97F1-8A4CF417E19A}" dt="2024-05-22T00:36:23.495" v="94" actId="20577"/>
        <pc:sldMkLst>
          <pc:docMk/>
          <pc:sldMk cId="1832365024" sldId="2147482149"/>
        </pc:sldMkLst>
        <pc:spChg chg="mod">
          <ac:chgData name="Xiaomin Lu" userId="42419631-bd19-4e2d-8d0e-2a49042d0d37" providerId="ADAL" clId="{78A45D93-1111-4DB5-97F1-8A4CF417E19A}" dt="2024-05-22T00:36:23.495" v="94" actId="20577"/>
          <ac:spMkLst>
            <pc:docMk/>
            <pc:sldMk cId="1832365024" sldId="2147482149"/>
            <ac:spMk id="18" creationId="{EB40EF0C-C2C5-D4B9-524E-BE022100694D}"/>
          </ac:spMkLst>
        </pc:spChg>
      </pc:sldChg>
      <pc:sldChg chg="modCm">
        <pc:chgData name="Xiaomin Lu" userId="42419631-bd19-4e2d-8d0e-2a49042d0d37" providerId="ADAL" clId="{78A45D93-1111-4DB5-97F1-8A4CF417E19A}" dt="2024-05-20T21:58:00.518" v="32"/>
        <pc:sldMkLst>
          <pc:docMk/>
          <pc:sldMk cId="2116408602" sldId="214748215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8:00.518" v="32"/>
              <pc2:cmMkLst xmlns:pc2="http://schemas.microsoft.com/office/powerpoint/2019/9/main/command">
                <pc:docMk/>
                <pc:sldMk cId="2116408602" sldId="2147482151"/>
                <pc2:cmMk id="{60301709-31FD-4974-A8FE-6244C7A8F47C}"/>
              </pc2:cmMkLst>
            </pc226:cmChg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7:58.881" v="31"/>
              <pc2:cmMkLst xmlns:pc2="http://schemas.microsoft.com/office/powerpoint/2019/9/main/command">
                <pc:docMk/>
                <pc:sldMk cId="2116408602" sldId="2147482151"/>
                <pc2:cmMk id="{7DE8C7BE-2037-41BF-91F3-CEC1FA555B86}"/>
              </pc2:cmMkLst>
            </pc226:cmChg>
          </p:ext>
        </pc:extLst>
      </pc:sldChg>
      <pc:sldChg chg="modCm">
        <pc:chgData name="Xiaomin Lu" userId="42419631-bd19-4e2d-8d0e-2a49042d0d37" providerId="ADAL" clId="{78A45D93-1111-4DB5-97F1-8A4CF417E19A}" dt="2024-05-20T21:55:49.374" v="25"/>
        <pc:sldMkLst>
          <pc:docMk/>
          <pc:sldMk cId="896328540" sldId="214748215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Xiaomin Lu" userId="42419631-bd19-4e2d-8d0e-2a49042d0d37" providerId="ADAL" clId="{78A45D93-1111-4DB5-97F1-8A4CF417E19A}" dt="2024-05-20T21:55:49.374" v="25"/>
              <pc2:cmMkLst xmlns:pc2="http://schemas.microsoft.com/office/powerpoint/2019/9/main/command">
                <pc:docMk/>
                <pc:sldMk cId="896328540" sldId="2147482153"/>
                <pc2:cmMk id="{ABDAC9BF-DBBA-4B82-A8A1-317B87BD4A9F}"/>
              </pc2:cmMkLst>
            </pc226:cmChg>
          </p:ext>
        </pc:extLst>
      </pc:sldChg>
    </pc:docChg>
  </pc:docChgLst>
  <pc:docChgLst>
    <pc:chgData name="Jason Melehani" userId="S::jason.melehani@gilead.com::93603e9a-d746-4d7c-89da-7c5ef8b091f7" providerId="AD" clId="Web-{CEEBCD5D-22CA-C64C-D944-E504350B7F7A}"/>
    <pc:docChg chg="">
      <pc:chgData name="Jason Melehani" userId="S::jason.melehani@gilead.com::93603e9a-d746-4d7c-89da-7c5ef8b091f7" providerId="AD" clId="Web-{CEEBCD5D-22CA-C64C-D944-E504350B7F7A}" dt="2024-03-25T04:25:02.289" v="0"/>
      <pc:docMkLst>
        <pc:docMk/>
      </pc:docMkLst>
      <pc:sldChg chg="modCm">
        <pc:chgData name="Jason Melehani" userId="S::jason.melehani@gilead.com::93603e9a-d746-4d7c-89da-7c5ef8b091f7" providerId="AD" clId="Web-{CEEBCD5D-22CA-C64C-D944-E504350B7F7A}" dt="2024-03-25T04:25:02.289" v="0"/>
        <pc:sldMkLst>
          <pc:docMk/>
          <pc:sldMk cId="3163595313" sldId="2147479477"/>
        </pc:sldMkLst>
      </pc:sldChg>
    </pc:docChg>
  </pc:docChgLst>
  <pc:docChgLst>
    <pc:chgData name="Celeste Hsieh" userId="3c23dc7f-1c43-4092-97b9-786e61784316" providerId="ADAL" clId="{8A13454B-1D97-4314-B652-0B6C8C897D39}"/>
    <pc:docChg chg="undo redo custSel addSld delSld modSld delMainMaster modSection">
      <pc:chgData name="Celeste Hsieh" userId="3c23dc7f-1c43-4092-97b9-786e61784316" providerId="ADAL" clId="{8A13454B-1D97-4314-B652-0B6C8C897D39}" dt="2024-03-18T23:19:17.990" v="4110" actId="20577"/>
      <pc:docMkLst>
        <pc:docMk/>
      </pc:docMkLst>
      <pc:sldChg chg="delSp add del replTag delTag">
        <pc:chgData name="Celeste Hsieh" userId="3c23dc7f-1c43-4092-97b9-786e61784316" providerId="ADAL" clId="{8A13454B-1D97-4314-B652-0B6C8C897D39}" dt="2024-03-18T23:00:53.643" v="3606" actId="47"/>
        <pc:sldMkLst>
          <pc:docMk/>
          <pc:sldMk cId="687553254" sldId="260"/>
        </pc:sldMkLst>
        <pc:spChg chg="del">
          <ac:chgData name="Celeste Hsieh" userId="3c23dc7f-1c43-4092-97b9-786e61784316" providerId="ADAL" clId="{8A13454B-1D97-4314-B652-0B6C8C897D39}" dt="2024-03-18T23:00:51.085" v="3597" actId="478"/>
          <ac:spMkLst>
            <pc:docMk/>
            <pc:sldMk cId="687553254" sldId="260"/>
            <ac:spMk id="87" creationId="{7A3E2B03-03CE-587E-72D2-807936BF2204}"/>
          </ac:spMkLst>
        </pc:spChg>
      </pc:sldChg>
      <pc:sldChg chg="addCm modCm">
        <pc:chgData name="Celeste Hsieh" userId="3c23dc7f-1c43-4092-97b9-786e61784316" providerId="ADAL" clId="{8A13454B-1D97-4314-B652-0B6C8C897D39}" dt="2024-03-18T18:36:54.651" v="836"/>
        <pc:sldMkLst>
          <pc:docMk/>
          <pc:sldMk cId="1014123647" sldId="2146847936"/>
        </pc:sldMkLst>
      </pc:sldChg>
      <pc:sldChg chg="addCm">
        <pc:chgData name="Celeste Hsieh" userId="3c23dc7f-1c43-4092-97b9-786e61784316" providerId="ADAL" clId="{8A13454B-1D97-4314-B652-0B6C8C897D39}" dt="2024-03-18T18:39:17.414" v="837"/>
        <pc:sldMkLst>
          <pc:docMk/>
          <pc:sldMk cId="1226772100" sldId="2146847938"/>
        </pc:sldMkLst>
      </pc:sldChg>
      <pc:sldChg chg="mod modShow">
        <pc:chgData name="Celeste Hsieh" userId="3c23dc7f-1c43-4092-97b9-786e61784316" providerId="ADAL" clId="{8A13454B-1D97-4314-B652-0B6C8C897D39}" dt="2024-03-18T21:40:41.475" v="1411" actId="729"/>
        <pc:sldMkLst>
          <pc:docMk/>
          <pc:sldMk cId="3809615134" sldId="2147308809"/>
        </pc:sldMkLst>
      </pc:sldChg>
      <pc:sldChg chg="modSp mod">
        <pc:chgData name="Celeste Hsieh" userId="3c23dc7f-1c43-4092-97b9-786e61784316" providerId="ADAL" clId="{8A13454B-1D97-4314-B652-0B6C8C897D39}" dt="2024-02-26T18:59:21.484" v="4" actId="20577"/>
        <pc:sldMkLst>
          <pc:docMk/>
          <pc:sldMk cId="946590102" sldId="2147308821"/>
        </pc:sldMkLst>
        <pc:spChg chg="mod">
          <ac:chgData name="Celeste Hsieh" userId="3c23dc7f-1c43-4092-97b9-786e61784316" providerId="ADAL" clId="{8A13454B-1D97-4314-B652-0B6C8C897D39}" dt="2024-02-26T18:59:21.484" v="4" actId="20577"/>
          <ac:spMkLst>
            <pc:docMk/>
            <pc:sldMk cId="946590102" sldId="2147308821"/>
            <ac:spMk id="7" creationId="{C7828341-2BCE-849E-EEE1-114988FCFFFB}"/>
          </ac:spMkLst>
        </pc:spChg>
      </pc:sldChg>
      <pc:sldChg chg="modSp mod">
        <pc:chgData name="Celeste Hsieh" userId="3c23dc7f-1c43-4092-97b9-786e61784316" providerId="ADAL" clId="{8A13454B-1D97-4314-B652-0B6C8C897D39}" dt="2024-03-18T21:18:52.033" v="1165" actId="6549"/>
        <pc:sldMkLst>
          <pc:docMk/>
          <pc:sldMk cId="11518599" sldId="2147308834"/>
        </pc:sldMkLst>
        <pc:spChg chg="mod">
          <ac:chgData name="Celeste Hsieh" userId="3c23dc7f-1c43-4092-97b9-786e61784316" providerId="ADAL" clId="{8A13454B-1D97-4314-B652-0B6C8C897D39}" dt="2024-03-18T21:18:52.033" v="1165" actId="6549"/>
          <ac:spMkLst>
            <pc:docMk/>
            <pc:sldMk cId="11518599" sldId="2147308834"/>
            <ac:spMk id="3" creationId="{71B74FEB-1A2D-FF9C-BA35-C7DAD4E39E8F}"/>
          </ac:spMkLst>
        </pc:spChg>
      </pc:sldChg>
      <pc:sldChg chg="del">
        <pc:chgData name="Celeste Hsieh" userId="3c23dc7f-1c43-4092-97b9-786e61784316" providerId="ADAL" clId="{8A13454B-1D97-4314-B652-0B6C8C897D39}" dt="2024-03-18T22:55:31.756" v="3401" actId="2696"/>
        <pc:sldMkLst>
          <pc:docMk/>
          <pc:sldMk cId="3238958266" sldId="2147471455"/>
        </pc:sldMkLst>
      </pc:sldChg>
      <pc:sldChg chg="modSp mod addCm modCm">
        <pc:chgData name="Celeste Hsieh" userId="3c23dc7f-1c43-4092-97b9-786e61784316" providerId="ADAL" clId="{8A13454B-1D97-4314-B652-0B6C8C897D39}" dt="2024-03-18T22:54:21.830" v="3397" actId="207"/>
        <pc:sldMkLst>
          <pc:docMk/>
          <pc:sldMk cId="2584841147" sldId="2147471742"/>
        </pc:sldMkLst>
        <pc:spChg chg="mod">
          <ac:chgData name="Celeste Hsieh" userId="3c23dc7f-1c43-4092-97b9-786e61784316" providerId="ADAL" clId="{8A13454B-1D97-4314-B652-0B6C8C897D39}" dt="2024-03-18T19:15:16.037" v="914" actId="20577"/>
          <ac:spMkLst>
            <pc:docMk/>
            <pc:sldMk cId="2584841147" sldId="2147471742"/>
            <ac:spMk id="40" creationId="{8A64CF47-DCFD-5E4F-9419-0C92810259DF}"/>
          </ac:spMkLst>
        </pc:spChg>
        <pc:graphicFrameChg chg="mod modGraphic">
          <ac:chgData name="Celeste Hsieh" userId="3c23dc7f-1c43-4092-97b9-786e61784316" providerId="ADAL" clId="{8A13454B-1D97-4314-B652-0B6C8C897D39}" dt="2024-03-18T22:54:21.830" v="3397" actId="207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  <pc:sldChg chg="del">
        <pc:chgData name="Celeste Hsieh" userId="3c23dc7f-1c43-4092-97b9-786e61784316" providerId="ADAL" clId="{8A13454B-1D97-4314-B652-0B6C8C897D39}" dt="2024-03-18T21:40:25.126" v="1410" actId="47"/>
        <pc:sldMkLst>
          <pc:docMk/>
          <pc:sldMk cId="1963939163" sldId="2147479206"/>
        </pc:sldMkLst>
      </pc:sldChg>
      <pc:sldChg chg="modSp mod">
        <pc:chgData name="Celeste Hsieh" userId="3c23dc7f-1c43-4092-97b9-786e61784316" providerId="ADAL" clId="{8A13454B-1D97-4314-B652-0B6C8C897D39}" dt="2024-03-18T19:25:23.840" v="1133" actId="20577"/>
        <pc:sldMkLst>
          <pc:docMk/>
          <pc:sldMk cId="881740034" sldId="2147479353"/>
        </pc:sldMkLst>
        <pc:spChg chg="mod">
          <ac:chgData name="Celeste Hsieh" userId="3c23dc7f-1c43-4092-97b9-786e61784316" providerId="ADAL" clId="{8A13454B-1D97-4314-B652-0B6C8C897D39}" dt="2024-03-18T19:25:23.840" v="1133" actId="20577"/>
          <ac:spMkLst>
            <pc:docMk/>
            <pc:sldMk cId="881740034" sldId="2147479353"/>
            <ac:spMk id="3" creationId="{7D836601-6754-9347-8E4F-019A9E8569EC}"/>
          </ac:spMkLst>
        </pc:spChg>
      </pc:sldChg>
      <pc:sldChg chg="del">
        <pc:chgData name="Celeste Hsieh" userId="3c23dc7f-1c43-4092-97b9-786e61784316" providerId="ADAL" clId="{8A13454B-1D97-4314-B652-0B6C8C897D39}" dt="2024-03-18T22:55:35.568" v="3402" actId="2696"/>
        <pc:sldMkLst>
          <pc:docMk/>
          <pc:sldMk cId="813900644" sldId="2147479420"/>
        </pc:sldMkLst>
      </pc:sldChg>
      <pc:sldChg chg="modSp mod delCm modCm">
        <pc:chgData name="Celeste Hsieh" userId="3c23dc7f-1c43-4092-97b9-786e61784316" providerId="ADAL" clId="{8A13454B-1D97-4314-B652-0B6C8C897D39}" dt="2024-03-18T22:49:39.764" v="3374"/>
        <pc:sldMkLst>
          <pc:docMk/>
          <pc:sldMk cId="491025675" sldId="2147479430"/>
        </pc:sldMkLst>
        <pc:graphicFrameChg chg="mod modGraphic">
          <ac:chgData name="Celeste Hsieh" userId="3c23dc7f-1c43-4092-97b9-786e61784316" providerId="ADAL" clId="{8A13454B-1D97-4314-B652-0B6C8C897D39}" dt="2024-03-18T21:36:08.174" v="1333" actId="20577"/>
          <ac:graphicFrameMkLst>
            <pc:docMk/>
            <pc:sldMk cId="491025675" sldId="2147479430"/>
            <ac:graphicFrameMk id="5" creationId="{850A22AB-DD42-40BA-ADB2-CD6A5E16AB0A}"/>
          </ac:graphicFrameMkLst>
        </pc:graphicFrameChg>
      </pc:sldChg>
      <pc:sldChg chg="del">
        <pc:chgData name="Celeste Hsieh" userId="3c23dc7f-1c43-4092-97b9-786e61784316" providerId="ADAL" clId="{8A13454B-1D97-4314-B652-0B6C8C897D39}" dt="2024-03-18T22:55:43.568" v="3403" actId="2696"/>
        <pc:sldMkLst>
          <pc:docMk/>
          <pc:sldMk cId="3856941195" sldId="2147479446"/>
        </pc:sldMkLst>
      </pc:sldChg>
      <pc:sldChg chg="del">
        <pc:chgData name="Celeste Hsieh" userId="3c23dc7f-1c43-4092-97b9-786e61784316" providerId="ADAL" clId="{8A13454B-1D97-4314-B652-0B6C8C897D39}" dt="2024-03-18T22:55:45.717" v="3404" actId="2696"/>
        <pc:sldMkLst>
          <pc:docMk/>
          <pc:sldMk cId="213302228" sldId="2147479447"/>
        </pc:sldMkLst>
      </pc:sldChg>
      <pc:sldChg chg="del">
        <pc:chgData name="Celeste Hsieh" userId="3c23dc7f-1c43-4092-97b9-786e61784316" providerId="ADAL" clId="{8A13454B-1D97-4314-B652-0B6C8C897D39}" dt="2024-03-18T22:55:47.761" v="3405" actId="2696"/>
        <pc:sldMkLst>
          <pc:docMk/>
          <pc:sldMk cId="3145677939" sldId="2147479448"/>
        </pc:sldMkLst>
      </pc:sldChg>
      <pc:sldChg chg="addSp delSp modSp mod addCm modCm">
        <pc:chgData name="Celeste Hsieh" userId="3c23dc7f-1c43-4092-97b9-786e61784316" providerId="ADAL" clId="{8A13454B-1D97-4314-B652-0B6C8C897D39}" dt="2024-03-18T22:57:26.592" v="3407"/>
        <pc:sldMkLst>
          <pc:docMk/>
          <pc:sldMk cId="2137990208" sldId="2147479455"/>
        </pc:sldMkLst>
        <pc:graphicFrameChg chg="modGraphic">
          <ac:chgData name="Celeste Hsieh" userId="3c23dc7f-1c43-4092-97b9-786e61784316" providerId="ADAL" clId="{8A13454B-1D97-4314-B652-0B6C8C897D39}" dt="2024-03-18T22:50:12.175" v="3377" actId="113"/>
          <ac:graphicFrameMkLst>
            <pc:docMk/>
            <pc:sldMk cId="2137990208" sldId="2147479455"/>
            <ac:graphicFrameMk id="4" creationId="{BE38E089-BBF7-5339-EF73-F68B7686C21D}"/>
          </ac:graphicFrameMkLst>
        </pc:graphicFrameChg>
        <pc:graphicFrameChg chg="add del">
          <ac:chgData name="Celeste Hsieh" userId="3c23dc7f-1c43-4092-97b9-786e61784316" providerId="ADAL" clId="{8A13454B-1D97-4314-B652-0B6C8C897D39}" dt="2024-03-18T22:57:26.592" v="3407"/>
          <ac:graphicFrameMkLst>
            <pc:docMk/>
            <pc:sldMk cId="2137990208" sldId="2147479455"/>
            <ac:graphicFrameMk id="5" creationId="{939A8A32-5425-60C7-D25B-B4D794F43E22}"/>
          </ac:graphicFrameMkLst>
        </pc:graphicFrameChg>
      </pc:sldChg>
      <pc:sldChg chg="addCm modCm">
        <pc:chgData name="Celeste Hsieh" userId="3c23dc7f-1c43-4092-97b9-786e61784316" providerId="ADAL" clId="{8A13454B-1D97-4314-B652-0B6C8C897D39}" dt="2024-02-26T19:46:33.428" v="7"/>
        <pc:sldMkLst>
          <pc:docMk/>
          <pc:sldMk cId="1952947529" sldId="2147479457"/>
        </pc:sldMkLst>
      </pc:sldChg>
      <pc:sldChg chg="modSp add mod addCm">
        <pc:chgData name="Celeste Hsieh" userId="3c23dc7f-1c43-4092-97b9-786e61784316" providerId="ADAL" clId="{8A13454B-1D97-4314-B652-0B6C8C897D39}" dt="2024-02-26T19:53:45.295" v="192" actId="20577"/>
        <pc:sldMkLst>
          <pc:docMk/>
          <pc:sldMk cId="1786549294" sldId="2147479463"/>
        </pc:sldMkLst>
        <pc:spChg chg="mod">
          <ac:chgData name="Celeste Hsieh" userId="3c23dc7f-1c43-4092-97b9-786e61784316" providerId="ADAL" clId="{8A13454B-1D97-4314-B652-0B6C8C897D39}" dt="2024-02-26T19:52:04.692" v="47" actId="6549"/>
          <ac:spMkLst>
            <pc:docMk/>
            <pc:sldMk cId="1786549294" sldId="2147479463"/>
            <ac:spMk id="2" creationId="{5354029C-42F0-FEBB-4DA3-93088E7981AE}"/>
          </ac:spMkLst>
        </pc:spChg>
        <pc:spChg chg="mod">
          <ac:chgData name="Celeste Hsieh" userId="3c23dc7f-1c43-4092-97b9-786e61784316" providerId="ADAL" clId="{8A13454B-1D97-4314-B652-0B6C8C897D39}" dt="2024-02-26T19:53:45.295" v="192" actId="20577"/>
          <ac:spMkLst>
            <pc:docMk/>
            <pc:sldMk cId="1786549294" sldId="2147479463"/>
            <ac:spMk id="3" creationId="{C6145EF6-3760-64C2-0384-F9533F7A9648}"/>
          </ac:spMkLst>
        </pc:spChg>
      </pc:sldChg>
      <pc:sldChg chg="modSp add mod">
        <pc:chgData name="Celeste Hsieh" userId="3c23dc7f-1c43-4092-97b9-786e61784316" providerId="ADAL" clId="{8A13454B-1D97-4314-B652-0B6C8C897D39}" dt="2024-02-26T20:00:26.278" v="671" actId="20577"/>
        <pc:sldMkLst>
          <pc:docMk/>
          <pc:sldMk cId="3362827502" sldId="2147479464"/>
        </pc:sldMkLst>
        <pc:spChg chg="mod">
          <ac:chgData name="Celeste Hsieh" userId="3c23dc7f-1c43-4092-97b9-786e61784316" providerId="ADAL" clId="{8A13454B-1D97-4314-B652-0B6C8C897D39}" dt="2024-02-26T19:52:27.315" v="69" actId="6549"/>
          <ac:spMkLst>
            <pc:docMk/>
            <pc:sldMk cId="3362827502" sldId="2147479464"/>
            <ac:spMk id="2" creationId="{5354029C-42F0-FEBB-4DA3-93088E7981AE}"/>
          </ac:spMkLst>
        </pc:spChg>
        <pc:spChg chg="mod">
          <ac:chgData name="Celeste Hsieh" userId="3c23dc7f-1c43-4092-97b9-786e61784316" providerId="ADAL" clId="{8A13454B-1D97-4314-B652-0B6C8C897D39}" dt="2024-02-26T20:00:26.278" v="671" actId="20577"/>
          <ac:spMkLst>
            <pc:docMk/>
            <pc:sldMk cId="3362827502" sldId="2147479464"/>
            <ac:spMk id="3" creationId="{C6145EF6-3760-64C2-0384-F9533F7A9648}"/>
          </ac:spMkLst>
        </pc:spChg>
      </pc:sldChg>
      <pc:sldChg chg="modSp add mod">
        <pc:chgData name="Celeste Hsieh" userId="3c23dc7f-1c43-4092-97b9-786e61784316" providerId="ADAL" clId="{8A13454B-1D97-4314-B652-0B6C8C897D39}" dt="2024-02-26T19:52:50.687" v="98" actId="20577"/>
        <pc:sldMkLst>
          <pc:docMk/>
          <pc:sldMk cId="283463880" sldId="2147479465"/>
        </pc:sldMkLst>
        <pc:spChg chg="mod">
          <ac:chgData name="Celeste Hsieh" userId="3c23dc7f-1c43-4092-97b9-786e61784316" providerId="ADAL" clId="{8A13454B-1D97-4314-B652-0B6C8C897D39}" dt="2024-02-26T19:52:50.687" v="98" actId="20577"/>
          <ac:spMkLst>
            <pc:docMk/>
            <pc:sldMk cId="283463880" sldId="2147479465"/>
            <ac:spMk id="2" creationId="{5354029C-42F0-FEBB-4DA3-93088E7981AE}"/>
          </ac:spMkLst>
        </pc:spChg>
      </pc:sldChg>
      <pc:sldChg chg="modSp add mod addCm">
        <pc:chgData name="Celeste Hsieh" userId="3c23dc7f-1c43-4092-97b9-786e61784316" providerId="ADAL" clId="{8A13454B-1D97-4314-B652-0B6C8C897D39}" dt="2024-02-26T20:01:56.317" v="799" actId="20577"/>
        <pc:sldMkLst>
          <pc:docMk/>
          <pc:sldMk cId="1466887601" sldId="2147479466"/>
        </pc:sldMkLst>
        <pc:spChg chg="mod">
          <ac:chgData name="Celeste Hsieh" userId="3c23dc7f-1c43-4092-97b9-786e61784316" providerId="ADAL" clId="{8A13454B-1D97-4314-B652-0B6C8C897D39}" dt="2024-02-26T19:53:03.294" v="119" actId="20577"/>
          <ac:spMkLst>
            <pc:docMk/>
            <pc:sldMk cId="1466887601" sldId="2147479466"/>
            <ac:spMk id="2" creationId="{5354029C-42F0-FEBB-4DA3-93088E7981AE}"/>
          </ac:spMkLst>
        </pc:spChg>
        <pc:spChg chg="mod">
          <ac:chgData name="Celeste Hsieh" userId="3c23dc7f-1c43-4092-97b9-786e61784316" providerId="ADAL" clId="{8A13454B-1D97-4314-B652-0B6C8C897D39}" dt="2024-02-26T20:01:56.317" v="799" actId="20577"/>
          <ac:spMkLst>
            <pc:docMk/>
            <pc:sldMk cId="1466887601" sldId="2147479466"/>
            <ac:spMk id="3" creationId="{C6145EF6-3760-64C2-0384-F9533F7A9648}"/>
          </ac:spMkLst>
        </pc:spChg>
      </pc:sldChg>
      <pc:sldChg chg="modSp add mod addCm">
        <pc:chgData name="Celeste Hsieh" userId="3c23dc7f-1c43-4092-97b9-786e61784316" providerId="ADAL" clId="{8A13454B-1D97-4314-B652-0B6C8C897D39}" dt="2024-02-26T20:00:41.839" v="672" actId="20577"/>
        <pc:sldMkLst>
          <pc:docMk/>
          <pc:sldMk cId="3557721676" sldId="2147479467"/>
        </pc:sldMkLst>
        <pc:spChg chg="mod">
          <ac:chgData name="Celeste Hsieh" userId="3c23dc7f-1c43-4092-97b9-786e61784316" providerId="ADAL" clId="{8A13454B-1D97-4314-B652-0B6C8C897D39}" dt="2024-02-26T19:54:04.068" v="211" actId="20577"/>
          <ac:spMkLst>
            <pc:docMk/>
            <pc:sldMk cId="3557721676" sldId="2147479467"/>
            <ac:spMk id="2" creationId="{5354029C-42F0-FEBB-4DA3-93088E7981AE}"/>
          </ac:spMkLst>
        </pc:spChg>
        <pc:spChg chg="mod">
          <ac:chgData name="Celeste Hsieh" userId="3c23dc7f-1c43-4092-97b9-786e61784316" providerId="ADAL" clId="{8A13454B-1D97-4314-B652-0B6C8C897D39}" dt="2024-02-26T20:00:41.839" v="672" actId="20577"/>
          <ac:spMkLst>
            <pc:docMk/>
            <pc:sldMk cId="3557721676" sldId="2147479467"/>
            <ac:spMk id="3" creationId="{C6145EF6-3760-64C2-0384-F9533F7A9648}"/>
          </ac:spMkLst>
        </pc:spChg>
      </pc:sldChg>
      <pc:sldChg chg="modSp mod">
        <pc:chgData name="Celeste Hsieh" userId="3c23dc7f-1c43-4092-97b9-786e61784316" providerId="ADAL" clId="{8A13454B-1D97-4314-B652-0B6C8C897D39}" dt="2024-03-18T21:36:43.778" v="1361" actId="122"/>
        <pc:sldMkLst>
          <pc:docMk/>
          <pc:sldMk cId="3126710675" sldId="2147479476"/>
        </pc:sldMkLst>
        <pc:graphicFrameChg chg="modGraphic">
          <ac:chgData name="Celeste Hsieh" userId="3c23dc7f-1c43-4092-97b9-786e61784316" providerId="ADAL" clId="{8A13454B-1D97-4314-B652-0B6C8C897D39}" dt="2024-03-18T21:36:43.778" v="1361" actId="122"/>
          <ac:graphicFrameMkLst>
            <pc:docMk/>
            <pc:sldMk cId="3126710675" sldId="2147479476"/>
            <ac:graphicFrameMk id="4" creationId="{A4E42C46-3083-19E3-D111-210F42CA16BC}"/>
          </ac:graphicFrameMkLst>
        </pc:graphicFrameChg>
      </pc:sldChg>
      <pc:sldChg chg="modSp mod addCm modCm">
        <pc:chgData name="Celeste Hsieh" userId="3c23dc7f-1c43-4092-97b9-786e61784316" providerId="ADAL" clId="{8A13454B-1D97-4314-B652-0B6C8C897D39}" dt="2024-03-18T21:24:50.835" v="1232" actId="400"/>
        <pc:sldMkLst>
          <pc:docMk/>
          <pc:sldMk cId="843403101" sldId="2147479477"/>
        </pc:sldMkLst>
        <pc:spChg chg="mod">
          <ac:chgData name="Celeste Hsieh" userId="3c23dc7f-1c43-4092-97b9-786e61784316" providerId="ADAL" clId="{8A13454B-1D97-4314-B652-0B6C8C897D39}" dt="2024-03-18T21:24:00.053" v="1230" actId="6549"/>
          <ac:spMkLst>
            <pc:docMk/>
            <pc:sldMk cId="843403101" sldId="2147479477"/>
            <ac:spMk id="2" creationId="{00000000-0000-0000-0000-000000000000}"/>
          </ac:spMkLst>
        </pc:spChg>
        <pc:graphicFrameChg chg="modGraphic">
          <ac:chgData name="Celeste Hsieh" userId="3c23dc7f-1c43-4092-97b9-786e61784316" providerId="ADAL" clId="{8A13454B-1D97-4314-B652-0B6C8C897D39}" dt="2024-03-18T21:24:50.835" v="1232" actId="400"/>
          <ac:graphicFrameMkLst>
            <pc:docMk/>
            <pc:sldMk cId="843403101" sldId="2147479477"/>
            <ac:graphicFrameMk id="3" creationId="{1BB599FD-6071-5C0B-0CCF-0A8634E74972}"/>
          </ac:graphicFrameMkLst>
        </pc:graphicFrameChg>
      </pc:sldChg>
      <pc:sldChg chg="modSp mod addCm modCm">
        <pc:chgData name="Celeste Hsieh" userId="3c23dc7f-1c43-4092-97b9-786e61784316" providerId="ADAL" clId="{8A13454B-1D97-4314-B652-0B6C8C897D39}" dt="2024-03-18T21:23:29.963" v="1197" actId="6549"/>
        <pc:sldMkLst>
          <pc:docMk/>
          <pc:sldMk cId="1622696466" sldId="2147479478"/>
        </pc:sldMkLst>
        <pc:spChg chg="mod">
          <ac:chgData name="Celeste Hsieh" userId="3c23dc7f-1c43-4092-97b9-786e61784316" providerId="ADAL" clId="{8A13454B-1D97-4314-B652-0B6C8C897D39}" dt="2024-03-18T21:23:29.963" v="1197" actId="6549"/>
          <ac:spMkLst>
            <pc:docMk/>
            <pc:sldMk cId="1622696466" sldId="2147479478"/>
            <ac:spMk id="2" creationId="{00000000-0000-0000-0000-000000000000}"/>
          </ac:spMkLst>
        </pc:spChg>
        <pc:graphicFrameChg chg="mod modGraphic">
          <ac:chgData name="Celeste Hsieh" userId="3c23dc7f-1c43-4092-97b9-786e61784316" providerId="ADAL" clId="{8A13454B-1D97-4314-B652-0B6C8C897D39}" dt="2024-03-18T18:54:34.505" v="860" actId="13926"/>
          <ac:graphicFrameMkLst>
            <pc:docMk/>
            <pc:sldMk cId="1622696466" sldId="2147479478"/>
            <ac:graphicFrameMk id="3" creationId="{1BB599FD-6071-5C0B-0CCF-0A8634E74972}"/>
          </ac:graphicFrameMkLst>
        </pc:graphicFrameChg>
      </pc:sldChg>
      <pc:sldChg chg="del">
        <pc:chgData name="Celeste Hsieh" userId="3c23dc7f-1c43-4092-97b9-786e61784316" providerId="ADAL" clId="{8A13454B-1D97-4314-B652-0B6C8C897D39}" dt="2024-03-18T23:04:45.817" v="3635" actId="47"/>
        <pc:sldMkLst>
          <pc:docMk/>
          <pc:sldMk cId="3851002420" sldId="2147479479"/>
        </pc:sldMkLst>
      </pc:sldChg>
      <pc:sldChg chg="modSp add mod">
        <pc:chgData name="Celeste Hsieh" userId="3c23dc7f-1c43-4092-97b9-786e61784316" providerId="ADAL" clId="{8A13454B-1D97-4314-B652-0B6C8C897D39}" dt="2024-03-18T22:55:08.649" v="3400" actId="207"/>
        <pc:sldMkLst>
          <pc:docMk/>
          <pc:sldMk cId="2619622909" sldId="2147479481"/>
        </pc:sldMkLst>
        <pc:spChg chg="mod">
          <ac:chgData name="Celeste Hsieh" userId="3c23dc7f-1c43-4092-97b9-786e61784316" providerId="ADAL" clId="{8A13454B-1D97-4314-B652-0B6C8C897D39}" dt="2024-03-18T19:15:37.343" v="944" actId="20577"/>
          <ac:spMkLst>
            <pc:docMk/>
            <pc:sldMk cId="2619622909" sldId="2147479481"/>
            <ac:spMk id="40" creationId="{8A64CF47-DCFD-5E4F-9419-0C92810259DF}"/>
          </ac:spMkLst>
        </pc:spChg>
        <pc:graphicFrameChg chg="mod modGraphic">
          <ac:chgData name="Celeste Hsieh" userId="3c23dc7f-1c43-4092-97b9-786e61784316" providerId="ADAL" clId="{8A13454B-1D97-4314-B652-0B6C8C897D39}" dt="2024-03-18T22:55:08.649" v="3400" actId="207"/>
          <ac:graphicFrameMkLst>
            <pc:docMk/>
            <pc:sldMk cId="2619622909" sldId="2147479481"/>
            <ac:graphicFrameMk id="2" creationId="{3B163526-BF01-46CA-8C94-CE7564279017}"/>
          </ac:graphicFrameMkLst>
        </pc:graphicFrameChg>
      </pc:sldChg>
      <pc:sldChg chg="modSp mod">
        <pc:chgData name="Celeste Hsieh" userId="3c23dc7f-1c43-4092-97b9-786e61784316" providerId="ADAL" clId="{8A13454B-1D97-4314-B652-0B6C8C897D39}" dt="2024-03-18T21:20:46.654" v="1167" actId="20577"/>
        <pc:sldMkLst>
          <pc:docMk/>
          <pc:sldMk cId="2131596709" sldId="2147479482"/>
        </pc:sldMkLst>
        <pc:spChg chg="mod">
          <ac:chgData name="Celeste Hsieh" userId="3c23dc7f-1c43-4092-97b9-786e61784316" providerId="ADAL" clId="{8A13454B-1D97-4314-B652-0B6C8C897D39}" dt="2024-03-18T21:20:46.654" v="1167" actId="20577"/>
          <ac:spMkLst>
            <pc:docMk/>
            <pc:sldMk cId="2131596709" sldId="2147479482"/>
            <ac:spMk id="2" creationId="{8785B8C3-7731-9911-8641-6D9960590EA5}"/>
          </ac:spMkLst>
        </pc:spChg>
      </pc:sldChg>
      <pc:sldChg chg="addCm">
        <pc:chgData name="Celeste Hsieh" userId="3c23dc7f-1c43-4092-97b9-786e61784316" providerId="ADAL" clId="{8A13454B-1D97-4314-B652-0B6C8C897D39}" dt="2024-03-18T21:45:51.247" v="1412"/>
        <pc:sldMkLst>
          <pc:docMk/>
          <pc:sldMk cId="32329921" sldId="2147479483"/>
        </pc:sldMkLst>
      </pc:sldChg>
      <pc:sldChg chg="addSp delSp modSp add mod">
        <pc:chgData name="Celeste Hsieh" userId="3c23dc7f-1c43-4092-97b9-786e61784316" providerId="ADAL" clId="{8A13454B-1D97-4314-B652-0B6C8C897D39}" dt="2024-03-18T23:03:56.630" v="3633" actId="14100"/>
        <pc:sldMkLst>
          <pc:docMk/>
          <pc:sldMk cId="3110089001" sldId="2147482125"/>
        </pc:sldMkLst>
        <pc:spChg chg="mod">
          <ac:chgData name="Celeste Hsieh" userId="3c23dc7f-1c43-4092-97b9-786e61784316" providerId="ADAL" clId="{8A13454B-1D97-4314-B652-0B6C8C897D39}" dt="2024-03-18T23:03:56.630" v="3633" actId="14100"/>
          <ac:spMkLst>
            <pc:docMk/>
            <pc:sldMk cId="3110089001" sldId="2147482125"/>
            <ac:spMk id="2" creationId="{5354029C-42F0-FEBB-4DA3-93088E7981AE}"/>
          </ac:spMkLst>
        </pc:spChg>
        <pc:spChg chg="del">
          <ac:chgData name="Celeste Hsieh" userId="3c23dc7f-1c43-4092-97b9-786e61784316" providerId="ADAL" clId="{8A13454B-1D97-4314-B652-0B6C8C897D39}" dt="2024-03-18T22:59:42.569" v="3573" actId="478"/>
          <ac:spMkLst>
            <pc:docMk/>
            <pc:sldMk cId="3110089001" sldId="2147482125"/>
            <ac:spMk id="3" creationId="{C6145EF6-3760-64C2-0384-F9533F7A9648}"/>
          </ac:spMkLst>
        </pc:spChg>
        <pc:spChg chg="add del mod">
          <ac:chgData name="Celeste Hsieh" userId="3c23dc7f-1c43-4092-97b9-786e61784316" providerId="ADAL" clId="{8A13454B-1D97-4314-B652-0B6C8C897D39}" dt="2024-03-18T23:01:10.577" v="3611" actId="478"/>
          <ac:spMkLst>
            <pc:docMk/>
            <pc:sldMk cId="3110089001" sldId="2147482125"/>
            <ac:spMk id="6" creationId="{267385B3-623F-E41A-2B69-63F032F97A1E}"/>
          </ac:spMkLst>
        </pc:spChg>
        <pc:picChg chg="add mod">
          <ac:chgData name="Celeste Hsieh" userId="3c23dc7f-1c43-4092-97b9-786e61784316" providerId="ADAL" clId="{8A13454B-1D97-4314-B652-0B6C8C897D39}" dt="2024-03-18T23:03:02.198" v="3631" actId="1037"/>
          <ac:picMkLst>
            <pc:docMk/>
            <pc:sldMk cId="3110089001" sldId="2147482125"/>
            <ac:picMk id="7" creationId="{63C96AB4-57DB-65EE-1414-4CACEA598ADA}"/>
          </ac:picMkLst>
        </pc:picChg>
      </pc:sldChg>
      <pc:sldChg chg="addSp delSp modSp add mod">
        <pc:chgData name="Celeste Hsieh" userId="3c23dc7f-1c43-4092-97b9-786e61784316" providerId="ADAL" clId="{8A13454B-1D97-4314-B652-0B6C8C897D39}" dt="2024-03-18T23:03:51.224" v="3632" actId="14100"/>
        <pc:sldMkLst>
          <pc:docMk/>
          <pc:sldMk cId="207251917" sldId="2147482126"/>
        </pc:sldMkLst>
        <pc:spChg chg="mod">
          <ac:chgData name="Celeste Hsieh" userId="3c23dc7f-1c43-4092-97b9-786e61784316" providerId="ADAL" clId="{8A13454B-1D97-4314-B652-0B6C8C897D39}" dt="2024-03-18T23:03:51.224" v="3632" actId="14100"/>
          <ac:spMkLst>
            <pc:docMk/>
            <pc:sldMk cId="207251917" sldId="2147482126"/>
            <ac:spMk id="2" creationId="{5354029C-42F0-FEBB-4DA3-93088E7981AE}"/>
          </ac:spMkLst>
        </pc:spChg>
        <pc:spChg chg="del">
          <ac:chgData name="Celeste Hsieh" userId="3c23dc7f-1c43-4092-97b9-786e61784316" providerId="ADAL" clId="{8A13454B-1D97-4314-B652-0B6C8C897D39}" dt="2024-03-18T22:59:40.320" v="3572" actId="478"/>
          <ac:spMkLst>
            <pc:docMk/>
            <pc:sldMk cId="207251917" sldId="2147482126"/>
            <ac:spMk id="3" creationId="{C6145EF6-3760-64C2-0384-F9533F7A9648}"/>
          </ac:spMkLst>
        </pc:spChg>
        <pc:spChg chg="add del mod">
          <ac:chgData name="Celeste Hsieh" userId="3c23dc7f-1c43-4092-97b9-786e61784316" providerId="ADAL" clId="{8A13454B-1D97-4314-B652-0B6C8C897D39}" dt="2024-03-18T23:01:57.955" v="3619" actId="478"/>
          <ac:spMkLst>
            <pc:docMk/>
            <pc:sldMk cId="207251917" sldId="2147482126"/>
            <ac:spMk id="6" creationId="{5C8D2BC5-00D3-7801-0824-28CFC886B4B8}"/>
          </ac:spMkLst>
        </pc:spChg>
        <pc:picChg chg="add mod">
          <ac:chgData name="Celeste Hsieh" userId="3c23dc7f-1c43-4092-97b9-786e61784316" providerId="ADAL" clId="{8A13454B-1D97-4314-B652-0B6C8C897D39}" dt="2024-03-18T23:02:37.248" v="3625" actId="14100"/>
          <ac:picMkLst>
            <pc:docMk/>
            <pc:sldMk cId="207251917" sldId="2147482126"/>
            <ac:picMk id="7" creationId="{BB688E51-17C9-1B90-D840-BC97D8BD323E}"/>
          </ac:picMkLst>
        </pc:picChg>
      </pc:sldChg>
      <pc:sldChg chg="addSp delSp modSp add mod">
        <pc:chgData name="Celeste Hsieh" userId="3c23dc7f-1c43-4092-97b9-786e61784316" providerId="ADAL" clId="{8A13454B-1D97-4314-B652-0B6C8C897D39}" dt="2024-03-18T23:19:17.990" v="4110" actId="20577"/>
        <pc:sldMkLst>
          <pc:docMk/>
          <pc:sldMk cId="3166096869" sldId="2147482127"/>
        </pc:sldMkLst>
        <pc:spChg chg="mod">
          <ac:chgData name="Celeste Hsieh" userId="3c23dc7f-1c43-4092-97b9-786e61784316" providerId="ADAL" clId="{8A13454B-1D97-4314-B652-0B6C8C897D39}" dt="2024-03-18T23:06:20.776" v="3739" actId="20577"/>
          <ac:spMkLst>
            <pc:docMk/>
            <pc:sldMk cId="3166096869" sldId="2147482127"/>
            <ac:spMk id="2" creationId="{92A35801-79E8-CD3C-D0DB-8806A4F0534D}"/>
          </ac:spMkLst>
        </pc:spChg>
        <pc:graphicFrameChg chg="add del mod modGraphic">
          <ac:chgData name="Celeste Hsieh" userId="3c23dc7f-1c43-4092-97b9-786e61784316" providerId="ADAL" clId="{8A13454B-1D97-4314-B652-0B6C8C897D39}" dt="2024-03-18T23:19:17.990" v="4110" actId="20577"/>
          <ac:graphicFrameMkLst>
            <pc:docMk/>
            <pc:sldMk cId="3166096869" sldId="2147482127"/>
            <ac:graphicFrameMk id="4" creationId="{A4E42C46-3083-19E3-D111-210F42CA16BC}"/>
          </ac:graphicFrameMkLst>
        </pc:graphicFrameChg>
      </pc:sldChg>
      <pc:sldMasterChg chg="delSldLayout">
        <pc:chgData name="Celeste Hsieh" userId="3c23dc7f-1c43-4092-97b9-786e61784316" providerId="ADAL" clId="{8A13454B-1D97-4314-B652-0B6C8C897D39}" dt="2024-03-18T21:40:25.126" v="1410" actId="47"/>
        <pc:sldMasterMkLst>
          <pc:docMk/>
          <pc:sldMasterMk cId="1547879936" sldId="2147483928"/>
        </pc:sldMasterMkLst>
        <pc:sldLayoutChg chg="del">
          <pc:chgData name="Celeste Hsieh" userId="3c23dc7f-1c43-4092-97b9-786e61784316" providerId="ADAL" clId="{8A13454B-1D97-4314-B652-0B6C8C897D39}" dt="2024-03-18T21:40:25.126" v="1410" actId="47"/>
          <pc:sldLayoutMkLst>
            <pc:docMk/>
            <pc:sldMasterMk cId="1547879936" sldId="2147483928"/>
            <pc:sldLayoutMk cId="4126244745" sldId="2147483942"/>
          </pc:sldLayoutMkLst>
        </pc:sldLayoutChg>
      </pc:sldMasterChg>
      <pc:sldMasterChg chg="del delSldLayout">
        <pc:chgData name="Celeste Hsieh" userId="3c23dc7f-1c43-4092-97b9-786e61784316" providerId="ADAL" clId="{8A13454B-1D97-4314-B652-0B6C8C897D39}" dt="2024-03-18T23:00:53.643" v="3606" actId="47"/>
        <pc:sldMasterMkLst>
          <pc:docMk/>
          <pc:sldMasterMk cId="68477300" sldId="2147484070"/>
        </pc:sldMasterMkLst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1500297448" sldId="2147484071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1089654288" sldId="2147484072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1231808713" sldId="2147484073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3092176005" sldId="2147484074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2616290763" sldId="2147484075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1125383918" sldId="2147484076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664103926" sldId="2147484077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2341346343" sldId="2147484078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3484749023" sldId="2147484079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2977353463" sldId="2147484080"/>
          </pc:sldLayoutMkLst>
        </pc:sldLayoutChg>
        <pc:sldLayoutChg chg="del">
          <pc:chgData name="Celeste Hsieh" userId="3c23dc7f-1c43-4092-97b9-786e61784316" providerId="ADAL" clId="{8A13454B-1D97-4314-B652-0B6C8C897D39}" dt="2024-03-18T23:00:53.643" v="3606" actId="47"/>
          <pc:sldLayoutMkLst>
            <pc:docMk/>
            <pc:sldMasterMk cId="68477300" sldId="2147484070"/>
            <pc:sldLayoutMk cId="1930359440" sldId="2147484081"/>
          </pc:sldLayoutMkLst>
        </pc:sldLayoutChg>
      </pc:sldMasterChg>
    </pc:docChg>
  </pc:docChgLst>
  <pc:docChgLst>
    <pc:chgData name="Julie Peloquin" userId="S::julie.peloquin@gilead.com::5c74c883-0e1a-441f-9270-90f97de9a2e7" providerId="AD" clId="Web-{5A38DF5C-FDFA-1201-8DB1-F795707FAA2C}"/>
    <pc:docChg chg="modSld">
      <pc:chgData name="Julie Peloquin" userId="S::julie.peloquin@gilead.com::5c74c883-0e1a-441f-9270-90f97de9a2e7" providerId="AD" clId="Web-{5A38DF5C-FDFA-1201-8DB1-F795707FAA2C}" dt="2024-03-18T22:21:01.944" v="900"/>
      <pc:docMkLst>
        <pc:docMk/>
      </pc:docMkLst>
      <pc:sldChg chg="modSp">
        <pc:chgData name="Julie Peloquin" userId="S::julie.peloquin@gilead.com::5c74c883-0e1a-441f-9270-90f97de9a2e7" providerId="AD" clId="Web-{5A38DF5C-FDFA-1201-8DB1-F795707FAA2C}" dt="2024-03-18T22:21:01.944" v="900"/>
        <pc:sldMkLst>
          <pc:docMk/>
          <pc:sldMk cId="2584841147" sldId="2147471742"/>
        </pc:sldMkLst>
        <pc:graphicFrameChg chg="mod modGraphic">
          <ac:chgData name="Julie Peloquin" userId="S::julie.peloquin@gilead.com::5c74c883-0e1a-441f-9270-90f97de9a2e7" providerId="AD" clId="Web-{5A38DF5C-FDFA-1201-8DB1-F795707FAA2C}" dt="2024-03-18T22:21:01.944" v="900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  <pc:sldChg chg="addCm">
        <pc:chgData name="Julie Peloquin" userId="S::julie.peloquin@gilead.com::5c74c883-0e1a-441f-9270-90f97de9a2e7" providerId="AD" clId="Web-{5A38DF5C-FDFA-1201-8DB1-F795707FAA2C}" dt="2024-03-18T22:05:16.120" v="262"/>
        <pc:sldMkLst>
          <pc:docMk/>
          <pc:sldMk cId="881740034" sldId="2147479353"/>
        </pc:sldMkLst>
      </pc:sldChg>
      <pc:sldChg chg="modSp">
        <pc:chgData name="Julie Peloquin" userId="S::julie.peloquin@gilead.com::5c74c883-0e1a-441f-9270-90f97de9a2e7" providerId="AD" clId="Web-{5A38DF5C-FDFA-1201-8DB1-F795707FAA2C}" dt="2024-03-18T21:03:15.728" v="261"/>
        <pc:sldMkLst>
          <pc:docMk/>
          <pc:sldMk cId="2137990208" sldId="2147479455"/>
        </pc:sldMkLst>
        <pc:graphicFrameChg chg="mod modGraphic">
          <ac:chgData name="Julie Peloquin" userId="S::julie.peloquin@gilead.com::5c74c883-0e1a-441f-9270-90f97de9a2e7" providerId="AD" clId="Web-{5A38DF5C-FDFA-1201-8DB1-F795707FAA2C}" dt="2024-03-18T21:03:15.728" v="261"/>
          <ac:graphicFrameMkLst>
            <pc:docMk/>
            <pc:sldMk cId="2137990208" sldId="2147479455"/>
            <ac:graphicFrameMk id="4" creationId="{BE38E089-BBF7-5339-EF73-F68B7686C21D}"/>
          </ac:graphicFrameMkLst>
        </pc:graphicFrameChg>
      </pc:sldChg>
      <pc:sldChg chg="modSp">
        <pc:chgData name="Julie Peloquin" userId="S::julie.peloquin@gilead.com::5c74c883-0e1a-441f-9270-90f97de9a2e7" providerId="AD" clId="Web-{5A38DF5C-FDFA-1201-8DB1-F795707FAA2C}" dt="2024-03-18T22:19:53.315" v="854"/>
        <pc:sldMkLst>
          <pc:docMk/>
          <pc:sldMk cId="2619622909" sldId="2147479481"/>
        </pc:sldMkLst>
        <pc:graphicFrameChg chg="mod modGraphic">
          <ac:chgData name="Julie Peloquin" userId="S::julie.peloquin@gilead.com::5c74c883-0e1a-441f-9270-90f97de9a2e7" providerId="AD" clId="Web-{5A38DF5C-FDFA-1201-8DB1-F795707FAA2C}" dt="2024-03-18T22:19:53.315" v="854"/>
          <ac:graphicFrameMkLst>
            <pc:docMk/>
            <pc:sldMk cId="2619622909" sldId="2147479481"/>
            <ac:graphicFrameMk id="2" creationId="{3B163526-BF01-46CA-8C94-CE7564279017}"/>
          </ac:graphicFrameMkLst>
        </pc:graphicFrameChg>
      </pc:sldChg>
    </pc:docChg>
  </pc:docChgLst>
  <pc:docChgLst>
    <pc:chgData name="Jason Melehani" userId="S::jason.melehani@gilead.com::93603e9a-d746-4d7c-89da-7c5ef8b091f7" providerId="AD" clId="Web-{964252EF-1404-96CD-179B-A831D93BF914}"/>
    <pc:docChg chg="addSld modSld modSection">
      <pc:chgData name="Jason Melehani" userId="S::jason.melehani@gilead.com::93603e9a-d746-4d7c-89da-7c5ef8b091f7" providerId="AD" clId="Web-{964252EF-1404-96CD-179B-A831D93BF914}" dt="2024-03-20T02:44:03.376" v="95" actId="20577"/>
      <pc:docMkLst>
        <pc:docMk/>
      </pc:docMkLst>
      <pc:sldChg chg="addCm">
        <pc:chgData name="Jason Melehani" userId="S::jason.melehani@gilead.com::93603e9a-d746-4d7c-89da-7c5ef8b091f7" providerId="AD" clId="Web-{964252EF-1404-96CD-179B-A831D93BF914}" dt="2024-03-20T02:28:06.491" v="21"/>
        <pc:sldMkLst>
          <pc:docMk/>
          <pc:sldMk cId="4028545561" sldId="2146847861"/>
        </pc:sldMkLst>
      </pc:sldChg>
      <pc:sldChg chg="addCm">
        <pc:chgData name="Jason Melehani" userId="S::jason.melehani@gilead.com::93603e9a-d746-4d7c-89da-7c5ef8b091f7" providerId="AD" clId="Web-{964252EF-1404-96CD-179B-A831D93BF914}" dt="2024-03-20T02:27:51.693" v="20"/>
        <pc:sldMkLst>
          <pc:docMk/>
          <pc:sldMk cId="1280071501" sldId="2146847862"/>
        </pc:sldMkLst>
      </pc:sldChg>
      <pc:sldChg chg="modCm">
        <pc:chgData name="Jason Melehani" userId="S::jason.melehani@gilead.com::93603e9a-d746-4d7c-89da-7c5ef8b091f7" providerId="AD" clId="Web-{964252EF-1404-96CD-179B-A831D93BF914}" dt="2024-03-20T02:09:08.100" v="9"/>
        <pc:sldMkLst>
          <pc:docMk/>
          <pc:sldMk cId="2212317420" sldId="2146847938"/>
        </pc:sldMkLst>
      </pc:sldChg>
      <pc:sldChg chg="modCm">
        <pc:chgData name="Jason Melehani" userId="S::jason.melehani@gilead.com::93603e9a-d746-4d7c-89da-7c5ef8b091f7" providerId="AD" clId="Web-{964252EF-1404-96CD-179B-A831D93BF914}" dt="2024-03-20T01:19:33.682" v="0"/>
        <pc:sldMkLst>
          <pc:docMk/>
          <pc:sldMk cId="11518599" sldId="2147308834"/>
        </pc:sldMkLst>
      </pc:sldChg>
      <pc:sldChg chg="addCm">
        <pc:chgData name="Jason Melehani" userId="S::jason.melehani@gilead.com::93603e9a-d746-4d7c-89da-7c5ef8b091f7" providerId="AD" clId="Web-{964252EF-1404-96CD-179B-A831D93BF914}" dt="2024-03-20T01:49:31.571" v="4"/>
        <pc:sldMkLst>
          <pc:docMk/>
          <pc:sldMk cId="2584841147" sldId="2147471742"/>
        </pc:sldMkLst>
      </pc:sldChg>
      <pc:sldChg chg="modCm">
        <pc:chgData name="Jason Melehani" userId="S::jason.melehani@gilead.com::93603e9a-d746-4d7c-89da-7c5ef8b091f7" providerId="AD" clId="Web-{964252EF-1404-96CD-179B-A831D93BF914}" dt="2024-03-20T02:24:12.077" v="14"/>
        <pc:sldMkLst>
          <pc:docMk/>
          <pc:sldMk cId="3929220374" sldId="2147479468"/>
        </pc:sldMkLst>
      </pc:sldChg>
      <pc:sldChg chg="modCm">
        <pc:chgData name="Jason Melehani" userId="S::jason.melehani@gilead.com::93603e9a-d746-4d7c-89da-7c5ef8b091f7" providerId="AD" clId="Web-{964252EF-1404-96CD-179B-A831D93BF914}" dt="2024-03-20T02:18:44.974" v="13"/>
        <pc:sldMkLst>
          <pc:docMk/>
          <pc:sldMk cId="3163595313" sldId="2147479477"/>
        </pc:sldMkLst>
      </pc:sldChg>
      <pc:sldChg chg="modCm">
        <pc:chgData name="Jason Melehani" userId="S::jason.melehani@gilead.com::93603e9a-d746-4d7c-89da-7c5ef8b091f7" providerId="AD" clId="Web-{964252EF-1404-96CD-179B-A831D93BF914}" dt="2024-03-20T02:10:29.868" v="10"/>
        <pc:sldMkLst>
          <pc:docMk/>
          <pc:sldMk cId="2761666500" sldId="2147479478"/>
        </pc:sldMkLst>
      </pc:sldChg>
      <pc:sldChg chg="addCm">
        <pc:chgData name="Jason Melehani" userId="S::jason.melehani@gilead.com::93603e9a-d746-4d7c-89da-7c5ef8b091f7" providerId="AD" clId="Web-{964252EF-1404-96CD-179B-A831D93BF914}" dt="2024-03-20T01:57:05.160" v="6"/>
        <pc:sldMkLst>
          <pc:docMk/>
          <pc:sldMk cId="2619622909" sldId="2147479481"/>
        </pc:sldMkLst>
      </pc:sldChg>
      <pc:sldChg chg="modCm">
        <pc:chgData name="Jason Melehani" userId="S::jason.melehani@gilead.com::93603e9a-d746-4d7c-89da-7c5ef8b091f7" providerId="AD" clId="Web-{964252EF-1404-96CD-179B-A831D93BF914}" dt="2024-03-20T02:06:09.533" v="8"/>
        <pc:sldMkLst>
          <pc:docMk/>
          <pc:sldMk cId="1566014954" sldId="2147479483"/>
        </pc:sldMkLst>
      </pc:sldChg>
      <pc:sldChg chg="modCm">
        <pc:chgData name="Jason Melehani" userId="S::jason.melehani@gilead.com::93603e9a-d746-4d7c-89da-7c5ef8b091f7" providerId="AD" clId="Web-{964252EF-1404-96CD-179B-A831D93BF914}" dt="2024-03-20T01:44:14.891" v="3"/>
        <pc:sldMkLst>
          <pc:docMk/>
          <pc:sldMk cId="2340784022" sldId="2147482126"/>
        </pc:sldMkLst>
      </pc:sldChg>
      <pc:sldChg chg="modSp">
        <pc:chgData name="Jason Melehani" userId="S::jason.melehani@gilead.com::93603e9a-d746-4d7c-89da-7c5ef8b091f7" providerId="AD" clId="Web-{964252EF-1404-96CD-179B-A831D93BF914}" dt="2024-03-20T02:26:10.127" v="19" actId="20577"/>
        <pc:sldMkLst>
          <pc:docMk/>
          <pc:sldMk cId="322481365" sldId="2147482129"/>
        </pc:sldMkLst>
        <pc:spChg chg="mod">
          <ac:chgData name="Jason Melehani" userId="S::jason.melehani@gilead.com::93603e9a-d746-4d7c-89da-7c5ef8b091f7" providerId="AD" clId="Web-{964252EF-1404-96CD-179B-A831D93BF914}" dt="2024-03-20T02:25:52.283" v="17" actId="20577"/>
          <ac:spMkLst>
            <pc:docMk/>
            <pc:sldMk cId="322481365" sldId="2147482129"/>
            <ac:spMk id="13" creationId="{AE2AE70D-FBEB-D605-A6FA-C2A228BB351F}"/>
          </ac:spMkLst>
        </pc:spChg>
        <pc:spChg chg="mod">
          <ac:chgData name="Jason Melehani" userId="S::jason.melehani@gilead.com::93603e9a-d746-4d7c-89da-7c5ef8b091f7" providerId="AD" clId="Web-{964252EF-1404-96CD-179B-A831D93BF914}" dt="2024-03-20T02:26:10.127" v="19" actId="20577"/>
          <ac:spMkLst>
            <pc:docMk/>
            <pc:sldMk cId="322481365" sldId="2147482129"/>
            <ac:spMk id="14" creationId="{B0ABB225-7D30-2F4A-416B-DAE842626116}"/>
          </ac:spMkLst>
        </pc:spChg>
      </pc:sldChg>
      <pc:sldChg chg="addCm modCm">
        <pc:chgData name="Jason Melehani" userId="S::jason.melehani@gilead.com::93603e9a-d746-4d7c-89da-7c5ef8b091f7" providerId="AD" clId="Web-{964252EF-1404-96CD-179B-A831D93BF914}" dt="2024-03-20T01:42:19.435" v="2"/>
        <pc:sldMkLst>
          <pc:docMk/>
          <pc:sldMk cId="609575873" sldId="2147482139"/>
        </pc:sldMkLst>
      </pc:sldChg>
      <pc:sldChg chg="modSp new">
        <pc:chgData name="Jason Melehani" userId="S::jason.melehani@gilead.com::93603e9a-d746-4d7c-89da-7c5ef8b091f7" providerId="AD" clId="Web-{964252EF-1404-96CD-179B-A831D93BF914}" dt="2024-03-20T02:44:03.376" v="95" actId="20577"/>
        <pc:sldMkLst>
          <pc:docMk/>
          <pc:sldMk cId="1250735742" sldId="2147482140"/>
        </pc:sldMkLst>
        <pc:spChg chg="mod">
          <ac:chgData name="Jason Melehani" userId="S::jason.melehani@gilead.com::93603e9a-d746-4d7c-89da-7c5ef8b091f7" providerId="AD" clId="Web-{964252EF-1404-96CD-179B-A831D93BF914}" dt="2024-03-20T02:39:54.885" v="36" actId="20577"/>
          <ac:spMkLst>
            <pc:docMk/>
            <pc:sldMk cId="1250735742" sldId="2147482140"/>
            <ac:spMk id="2" creationId="{E3674C14-BAB4-3D1D-8518-911CBCFE92D5}"/>
          </ac:spMkLst>
        </pc:spChg>
        <pc:spChg chg="mod">
          <ac:chgData name="Jason Melehani" userId="S::jason.melehani@gilead.com::93603e9a-d746-4d7c-89da-7c5ef8b091f7" providerId="AD" clId="Web-{964252EF-1404-96CD-179B-A831D93BF914}" dt="2024-03-20T02:44:03.376" v="95" actId="20577"/>
          <ac:spMkLst>
            <pc:docMk/>
            <pc:sldMk cId="1250735742" sldId="2147482140"/>
            <ac:spMk id="3" creationId="{84E7990A-45D4-29D5-9849-9E694B358C8B}"/>
          </ac:spMkLst>
        </pc:spChg>
      </pc:sldChg>
    </pc:docChg>
  </pc:docChgLst>
  <pc:docChgLst>
    <pc:chgData name="Xiaomin Lu" userId="S::xiaomin.lu@gilead.com::42419631-bd19-4e2d-8d0e-2a49042d0d37" providerId="AD" clId="Web-{57EEEAC8-6C34-A620-8D6D-098FB99D5905}"/>
    <pc:docChg chg="">
      <pc:chgData name="Xiaomin Lu" userId="S::xiaomin.lu@gilead.com::42419631-bd19-4e2d-8d0e-2a49042d0d37" providerId="AD" clId="Web-{57EEEAC8-6C34-A620-8D6D-098FB99D5905}" dt="2024-02-27T22:20:38.157" v="0"/>
      <pc:docMkLst>
        <pc:docMk/>
      </pc:docMkLst>
      <pc:sldChg chg="modCm">
        <pc:chgData name="Xiaomin Lu" userId="S::xiaomin.lu@gilead.com::42419631-bd19-4e2d-8d0e-2a49042d0d37" providerId="AD" clId="Web-{57EEEAC8-6C34-A620-8D6D-098FB99D5905}" dt="2024-02-27T22:20:38.157" v="0"/>
        <pc:sldMkLst>
          <pc:docMk/>
          <pc:sldMk cId="1462714232" sldId="2147479468"/>
        </pc:sldMkLst>
      </pc:sldChg>
    </pc:docChg>
  </pc:docChgLst>
  <pc:docChgLst>
    <pc:chgData clId="Web-{9D6BEFD3-8A08-4679-AF75-FE79054B6666}"/>
    <pc:docChg chg="">
      <pc:chgData name="" userId="" providerId="" clId="Web-{9D6BEFD3-8A08-4679-AF75-FE79054B6666}" dt="2024-03-26T22:20:20.833" v="0"/>
      <pc:docMkLst>
        <pc:docMk/>
      </pc:docMkLst>
      <pc:sldChg chg="modCm">
        <pc:chgData name="" userId="" providerId="" clId="Web-{9D6BEFD3-8A08-4679-AF75-FE79054B6666}" dt="2024-03-26T22:20:20.833" v="0"/>
        <pc:sldMkLst>
          <pc:docMk/>
          <pc:sldMk cId="1280071501" sldId="2146847862"/>
        </pc:sldMkLst>
      </pc:sldChg>
    </pc:docChg>
  </pc:docChgLst>
  <pc:docChgLst>
    <pc:chgData name="Jason Melehani" userId="S::jason.melehani@gilead.com::93603e9a-d746-4d7c-89da-7c5ef8b091f7" providerId="AD" clId="Web-{82F01F5F-09C2-81AF-0974-EA2434835C67}"/>
    <pc:docChg chg="addSld modSld modSection">
      <pc:chgData name="Jason Melehani" userId="S::jason.melehani@gilead.com::93603e9a-d746-4d7c-89da-7c5ef8b091f7" providerId="AD" clId="Web-{82F01F5F-09C2-81AF-0974-EA2434835C67}" dt="2024-03-22T05:10:14.125" v="145"/>
      <pc:docMkLst>
        <pc:docMk/>
      </pc:docMkLst>
      <pc:sldChg chg="modCm">
        <pc:chgData name="Jason Melehani" userId="S::jason.melehani@gilead.com::93603e9a-d746-4d7c-89da-7c5ef8b091f7" providerId="AD" clId="Web-{82F01F5F-09C2-81AF-0974-EA2434835C67}" dt="2024-03-22T05:08:29.466" v="144"/>
        <pc:sldMkLst>
          <pc:docMk/>
          <pc:sldMk cId="3163595313" sldId="2147479477"/>
        </pc:sldMkLst>
      </pc:sldChg>
      <pc:sldChg chg="delSp modSp add replId addCm delCm">
        <pc:chgData name="Jason Melehani" userId="S::jason.melehani@gilead.com::93603e9a-d746-4d7c-89da-7c5ef8b091f7" providerId="AD" clId="Web-{82F01F5F-09C2-81AF-0974-EA2434835C67}" dt="2024-03-22T05:10:14.125" v="145"/>
        <pc:sldMkLst>
          <pc:docMk/>
          <pc:sldMk cId="1832365024" sldId="2147482149"/>
        </pc:sldMkLst>
        <pc:spChg chg="mod">
          <ac:chgData name="Jason Melehani" userId="S::jason.melehani@gilead.com::93603e9a-d746-4d7c-89da-7c5ef8b091f7" providerId="AD" clId="Web-{82F01F5F-09C2-81AF-0974-EA2434835C67}" dt="2024-03-22T05:07:04.510" v="141" actId="20577"/>
          <ac:spMkLst>
            <pc:docMk/>
            <pc:sldMk cId="1832365024" sldId="2147482149"/>
            <ac:spMk id="8" creationId="{8F12C514-1207-0691-263F-F3BC2ACE7F17}"/>
          </ac:spMkLst>
        </pc:spChg>
        <pc:spChg chg="del">
          <ac:chgData name="Jason Melehani" userId="S::jason.melehani@gilead.com::93603e9a-d746-4d7c-89da-7c5ef8b091f7" providerId="AD" clId="Web-{82F01F5F-09C2-81AF-0974-EA2434835C67}" dt="2024-03-22T05:00:28.826" v="86"/>
          <ac:spMkLst>
            <pc:docMk/>
            <pc:sldMk cId="1832365024" sldId="2147482149"/>
            <ac:spMk id="9" creationId="{F19B51E3-2B1E-E94C-D72A-EF64F0DBCEEE}"/>
          </ac:spMkLst>
        </pc:spChg>
        <pc:spChg chg="mod">
          <ac:chgData name="Jason Melehani" userId="S::jason.melehani@gilead.com::93603e9a-d746-4d7c-89da-7c5ef8b091f7" providerId="AD" clId="Web-{82F01F5F-09C2-81AF-0974-EA2434835C67}" dt="2024-03-22T04:58:18.509" v="7" actId="20577"/>
          <ac:spMkLst>
            <pc:docMk/>
            <pc:sldMk cId="1832365024" sldId="2147482149"/>
            <ac:spMk id="16" creationId="{7654415D-593C-1CBA-3A27-FC76D747F1B2}"/>
          </ac:spMkLst>
        </pc:spChg>
        <pc:spChg chg="mod">
          <ac:chgData name="Jason Melehani" userId="S::jason.melehani@gilead.com::93603e9a-d746-4d7c-89da-7c5ef8b091f7" providerId="AD" clId="Web-{82F01F5F-09C2-81AF-0974-EA2434835C67}" dt="2024-03-22T04:58:30.587" v="30" actId="20577"/>
          <ac:spMkLst>
            <pc:docMk/>
            <pc:sldMk cId="1832365024" sldId="2147482149"/>
            <ac:spMk id="21" creationId="{965CC661-CC86-5DCD-EF18-A170D8CB8A15}"/>
          </ac:spMkLst>
        </pc:spChg>
        <pc:spChg chg="mod">
          <ac:chgData name="Jason Melehani" userId="S::jason.melehani@gilead.com::93603e9a-d746-4d7c-89da-7c5ef8b091f7" providerId="AD" clId="Web-{82F01F5F-09C2-81AF-0974-EA2434835C67}" dt="2024-03-22T05:01:41.063" v="96" actId="1076"/>
          <ac:spMkLst>
            <pc:docMk/>
            <pc:sldMk cId="1832365024" sldId="2147482149"/>
            <ac:spMk id="8213" creationId="{A9B01587-39AD-BE3E-C194-BEAA4416EAD7}"/>
          </ac:spMkLst>
        </pc:spChg>
        <pc:spChg chg="mod">
          <ac:chgData name="Jason Melehani" userId="S::jason.melehani@gilead.com::93603e9a-d746-4d7c-89da-7c5ef8b091f7" providerId="AD" clId="Web-{82F01F5F-09C2-81AF-0974-EA2434835C67}" dt="2024-03-22T05:07:15.276" v="143" actId="1076"/>
          <ac:spMkLst>
            <pc:docMk/>
            <pc:sldMk cId="1832365024" sldId="2147482149"/>
            <ac:spMk id="8239" creationId="{CA82C06E-5098-680D-211B-FBCEBF597426}"/>
          </ac:spMkLst>
        </pc:spChg>
        <pc:spChg chg="del">
          <ac:chgData name="Jason Melehani" userId="S::jason.melehani@gilead.com::93603e9a-d746-4d7c-89da-7c5ef8b091f7" providerId="AD" clId="Web-{82F01F5F-09C2-81AF-0974-EA2434835C67}" dt="2024-03-22T05:00:39.405" v="89"/>
          <ac:spMkLst>
            <pc:docMk/>
            <pc:sldMk cId="1832365024" sldId="2147482149"/>
            <ac:spMk id="8240" creationId="{C2F24B67-073D-4EA4-1FE5-01030CF90FEA}"/>
          </ac:spMkLst>
        </pc:spChg>
        <pc:spChg chg="del">
          <ac:chgData name="Jason Melehani" userId="S::jason.melehani@gilead.com::93603e9a-d746-4d7c-89da-7c5ef8b091f7" providerId="AD" clId="Web-{82F01F5F-09C2-81AF-0974-EA2434835C67}" dt="2024-03-22T05:00:30.795" v="87"/>
          <ac:spMkLst>
            <pc:docMk/>
            <pc:sldMk cId="1832365024" sldId="2147482149"/>
            <ac:spMk id="8245" creationId="{AEFEE2D7-317C-E817-E77B-51084EEF7BD0}"/>
          </ac:spMkLst>
        </pc:spChg>
        <pc:spChg chg="mod">
          <ac:chgData name="Jason Melehani" userId="S::jason.melehani@gilead.com::93603e9a-d746-4d7c-89da-7c5ef8b091f7" providerId="AD" clId="Web-{82F01F5F-09C2-81AF-0974-EA2434835C67}" dt="2024-03-22T05:00:44.686" v="91" actId="1076"/>
          <ac:spMkLst>
            <pc:docMk/>
            <pc:sldMk cId="1832365024" sldId="2147482149"/>
            <ac:spMk id="8248" creationId="{C1967561-F47C-80B1-902D-856A74449EDE}"/>
          </ac:spMkLst>
        </pc:spChg>
        <pc:cxnChg chg="del mod">
          <ac:chgData name="Jason Melehani" userId="S::jason.melehani@gilead.com::93603e9a-d746-4d7c-89da-7c5ef8b091f7" providerId="AD" clId="Web-{82F01F5F-09C2-81AF-0974-EA2434835C67}" dt="2024-03-22T05:00:33.858" v="88"/>
          <ac:cxnSpMkLst>
            <pc:docMk/>
            <pc:sldMk cId="1832365024" sldId="2147482149"/>
            <ac:cxnSpMk id="10" creationId="{48DF3C3C-4A2D-E95D-68E3-DC8BD514193C}"/>
          </ac:cxnSpMkLst>
        </pc:cxnChg>
        <pc:cxnChg chg="mod">
          <ac:chgData name="Jason Melehani" userId="S::jason.melehani@gilead.com::93603e9a-d746-4d7c-89da-7c5ef8b091f7" providerId="AD" clId="Web-{82F01F5F-09C2-81AF-0974-EA2434835C67}" dt="2024-03-22T04:58:07.040" v="5" actId="1076"/>
          <ac:cxnSpMkLst>
            <pc:docMk/>
            <pc:sldMk cId="1832365024" sldId="2147482149"/>
            <ac:cxnSpMk id="11" creationId="{7D7C7EA5-22CA-2338-7F8C-70092ABA2D1E}"/>
          </ac:cxnSpMkLst>
        </pc:cxnChg>
        <pc:cxnChg chg="mod">
          <ac:chgData name="Jason Melehani" userId="S::jason.melehani@gilead.com::93603e9a-d746-4d7c-89da-7c5ef8b091f7" providerId="AD" clId="Web-{82F01F5F-09C2-81AF-0974-EA2434835C67}" dt="2024-03-22T04:58:07.040" v="5" actId="1076"/>
          <ac:cxnSpMkLst>
            <pc:docMk/>
            <pc:sldMk cId="1832365024" sldId="2147482149"/>
            <ac:cxnSpMk id="13" creationId="{93DDBF01-A74F-A7DD-925B-4910DE785F80}"/>
          </ac:cxnSpMkLst>
        </pc:cxnChg>
        <pc:cxnChg chg="mod">
          <ac:chgData name="Jason Melehani" userId="S::jason.melehani@gilead.com::93603e9a-d746-4d7c-89da-7c5ef8b091f7" providerId="AD" clId="Web-{82F01F5F-09C2-81AF-0974-EA2434835C67}" dt="2024-03-22T05:07:10.807" v="142" actId="14100"/>
          <ac:cxnSpMkLst>
            <pc:docMk/>
            <pc:sldMk cId="1832365024" sldId="2147482149"/>
            <ac:cxnSpMk id="14" creationId="{19EFBBEF-4BBC-629C-C5F6-5BF9E790B505}"/>
          </ac:cxnSpMkLst>
        </pc:cxnChg>
        <pc:cxnChg chg="del mod">
          <ac:chgData name="Jason Melehani" userId="S::jason.melehani@gilead.com::93603e9a-d746-4d7c-89da-7c5ef8b091f7" providerId="AD" clId="Web-{82F01F5F-09C2-81AF-0974-EA2434835C67}" dt="2024-03-22T05:00:39.405" v="90"/>
          <ac:cxnSpMkLst>
            <pc:docMk/>
            <pc:sldMk cId="1832365024" sldId="2147482149"/>
            <ac:cxnSpMk id="15" creationId="{6D07561C-BAE2-3071-E01B-0510E5C9E60B}"/>
          </ac:cxnSpMkLst>
        </pc:cxnChg>
        <pc:cxnChg chg="mod">
          <ac:chgData name="Jason Melehani" userId="S::jason.melehani@gilead.com::93603e9a-d746-4d7c-89da-7c5ef8b091f7" providerId="AD" clId="Web-{82F01F5F-09C2-81AF-0974-EA2434835C67}" dt="2024-03-22T04:58:04.086" v="4" actId="1076"/>
          <ac:cxnSpMkLst>
            <pc:docMk/>
            <pc:sldMk cId="1832365024" sldId="2147482149"/>
            <ac:cxnSpMk id="20" creationId="{E0B08D7D-345E-2C68-E0F9-C0581C7ECC00}"/>
          </ac:cxnSpMkLst>
        </pc:cxnChg>
        <pc:cxnChg chg="mod">
          <ac:chgData name="Jason Melehani" userId="S::jason.melehani@gilead.com::93603e9a-d746-4d7c-89da-7c5ef8b091f7" providerId="AD" clId="Web-{82F01F5F-09C2-81AF-0974-EA2434835C67}" dt="2024-03-22T05:00:28.826" v="86"/>
          <ac:cxnSpMkLst>
            <pc:docMk/>
            <pc:sldMk cId="1832365024" sldId="2147482149"/>
            <ac:cxnSpMk id="24" creationId="{4B144D7C-C43A-7A98-B529-ECF0988EB91A}"/>
          </ac:cxnSpMkLst>
        </pc:cxnChg>
      </pc:sldChg>
    </pc:docChg>
  </pc:docChgLst>
  <pc:docChgLst>
    <pc:chgData name="Henry Hulter (Contractor)" userId="S::henry.hulter@gilead.com::61776daa-1f15-439c-abbe-da88991fe9d1" providerId="AD" clId="Web-{53A059EA-5CD2-EBB6-11A6-6A0A4B89DE78}"/>
    <pc:docChg chg="">
      <pc:chgData name="Henry Hulter (Contractor)" userId="S::henry.hulter@gilead.com::61776daa-1f15-439c-abbe-da88991fe9d1" providerId="AD" clId="Web-{53A059EA-5CD2-EBB6-11A6-6A0A4B89DE78}" dt="2024-05-15T19:59:26.004" v="6"/>
      <pc:docMkLst>
        <pc:docMk/>
      </pc:docMkLst>
      <pc:sldChg chg="addCm">
        <pc:chgData name="Henry Hulter (Contractor)" userId="S::henry.hulter@gilead.com::61776daa-1f15-439c-abbe-da88991fe9d1" providerId="AD" clId="Web-{53A059EA-5CD2-EBB6-11A6-6A0A4B89DE78}" dt="2024-05-15T19:54:59.548" v="5"/>
        <pc:sldMkLst>
          <pc:docMk/>
          <pc:sldMk cId="1086338696" sldId="214684751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Henry Hulter (Contractor)" userId="S::henry.hulter@gilead.com::61776daa-1f15-439c-abbe-da88991fe9d1" providerId="AD" clId="Web-{53A059EA-5CD2-EBB6-11A6-6A0A4B89DE78}" dt="2024-05-15T19:54:59.548" v="5"/>
              <pc2:cmMkLst xmlns:pc2="http://schemas.microsoft.com/office/powerpoint/2019/9/main/command">
                <pc:docMk/>
                <pc:sldMk cId="1086338696" sldId="2146847517"/>
                <pc2:cmMk id="{848F0C49-94E0-4331-B07F-4DAEABC6CEEF}"/>
              </pc2:cmMkLst>
            </pc226:cmChg>
          </p:ext>
        </pc:extLst>
      </pc:sldChg>
      <pc:sldChg chg="addCm">
        <pc:chgData name="Henry Hulter (Contractor)" userId="S::henry.hulter@gilead.com::61776daa-1f15-439c-abbe-da88991fe9d1" providerId="AD" clId="Web-{53A059EA-5CD2-EBB6-11A6-6A0A4B89DE78}" dt="2024-05-15T18:10:08.130" v="0"/>
        <pc:sldMkLst>
          <pc:docMk/>
          <pc:sldMk cId="2853942534" sldId="214748212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Henry Hulter (Contractor)" userId="S::henry.hulter@gilead.com::61776daa-1f15-439c-abbe-da88991fe9d1" providerId="AD" clId="Web-{53A059EA-5CD2-EBB6-11A6-6A0A4B89DE78}" dt="2024-05-15T18:10:08.130" v="0"/>
              <pc2:cmMkLst xmlns:pc2="http://schemas.microsoft.com/office/powerpoint/2019/9/main/command">
                <pc:docMk/>
                <pc:sldMk cId="2853942534" sldId="2147482124"/>
                <pc2:cmMk id="{EAFB2884-3C67-49E9-A187-34149DE62FCF}"/>
              </pc2:cmMkLst>
            </pc226:cmChg>
          </p:ext>
        </pc:extLst>
      </pc:sldChg>
      <pc:sldChg chg="modCm">
        <pc:chgData name="Henry Hulter (Contractor)" userId="S::henry.hulter@gilead.com::61776daa-1f15-439c-abbe-da88991fe9d1" providerId="AD" clId="Web-{53A059EA-5CD2-EBB6-11A6-6A0A4B89DE78}" dt="2024-05-15T19:59:26.004" v="6"/>
        <pc:sldMkLst>
          <pc:docMk/>
          <pc:sldMk cId="361833081" sldId="214748214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Henry Hulter (Contractor)" userId="S::henry.hulter@gilead.com::61776daa-1f15-439c-abbe-da88991fe9d1" providerId="AD" clId="Web-{53A059EA-5CD2-EBB6-11A6-6A0A4B89DE78}" dt="2024-05-15T19:59:26.004" v="6"/>
              <pc2:cmMkLst xmlns:pc2="http://schemas.microsoft.com/office/powerpoint/2019/9/main/command">
                <pc:docMk/>
                <pc:sldMk cId="361833081" sldId="2147482145"/>
                <pc2:cmMk id="{43611F5A-F858-4556-AC63-9BA15FD50E91}"/>
              </pc2:cmMkLst>
              <pc226:cmRplyChg chg="add">
                <pc226:chgData name="Henry Hulter (Contractor)" userId="S::henry.hulter@gilead.com::61776daa-1f15-439c-abbe-da88991fe9d1" providerId="AD" clId="Web-{53A059EA-5CD2-EBB6-11A6-6A0A4B89DE78}" dt="2024-05-15T19:59:26.004" v="6"/>
                <pc2:cmRplyMkLst xmlns:pc2="http://schemas.microsoft.com/office/powerpoint/2019/9/main/command">
                  <pc:docMk/>
                  <pc:sldMk cId="361833081" sldId="2147482145"/>
                  <pc2:cmMk id="{43611F5A-F858-4556-AC63-9BA15FD50E91}"/>
                  <pc2:cmRplyMk id="{08B4A07E-8494-4948-89E8-8CC178DFA39C}"/>
                </pc2:cmRplyMkLst>
              </pc226:cmRplyChg>
            </pc226:cmChg>
          </p:ext>
        </pc:extLst>
      </pc:sldChg>
      <pc:sldChg chg="addCm modCm">
        <pc:chgData name="Henry Hulter (Contractor)" userId="S::henry.hulter@gilead.com::61776daa-1f15-439c-abbe-da88991fe9d1" providerId="AD" clId="Web-{53A059EA-5CD2-EBB6-11A6-6A0A4B89DE78}" dt="2024-05-15T19:46:32.685" v="4"/>
        <pc:sldMkLst>
          <pc:docMk/>
          <pc:sldMk cId="1299719781" sldId="214748215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Henry Hulter (Contractor)" userId="S::henry.hulter@gilead.com::61776daa-1f15-439c-abbe-da88991fe9d1" providerId="AD" clId="Web-{53A059EA-5CD2-EBB6-11A6-6A0A4B89DE78}" dt="2024-05-15T19:46:32.685" v="4"/>
              <pc2:cmMkLst xmlns:pc2="http://schemas.microsoft.com/office/powerpoint/2019/9/main/command">
                <pc:docMk/>
                <pc:sldMk cId="1299719781" sldId="2147482156"/>
                <pc2:cmMk id="{226EAC3C-D93A-4D1E-8184-A450393547EB}"/>
              </pc2:cmMkLst>
            </pc226:cmChg>
            <pc226:cmChg xmlns:pc226="http://schemas.microsoft.com/office/powerpoint/2022/06/main/command" chg="add">
              <pc226:chgData name="Henry Hulter (Contractor)" userId="S::henry.hulter@gilead.com::61776daa-1f15-439c-abbe-da88991fe9d1" providerId="AD" clId="Web-{53A059EA-5CD2-EBB6-11A6-6A0A4B89DE78}" dt="2024-05-15T18:57:03.596" v="2"/>
              <pc2:cmMkLst xmlns:pc2="http://schemas.microsoft.com/office/powerpoint/2019/9/main/command">
                <pc:docMk/>
                <pc:sldMk cId="1299719781" sldId="2147482156"/>
                <pc2:cmMk id="{78E86947-F09A-4640-92AC-B51E1260CCE5}"/>
              </pc2:cmMkLst>
            </pc226:cmChg>
            <pc226:cmChg xmlns:pc226="http://schemas.microsoft.com/office/powerpoint/2022/06/main/command" chg="add">
              <pc226:chgData name="Henry Hulter (Contractor)" userId="S::henry.hulter@gilead.com::61776daa-1f15-439c-abbe-da88991fe9d1" providerId="AD" clId="Web-{53A059EA-5CD2-EBB6-11A6-6A0A4B89DE78}" dt="2024-05-15T19:08:47.485" v="3"/>
              <pc2:cmMkLst xmlns:pc2="http://schemas.microsoft.com/office/powerpoint/2019/9/main/command">
                <pc:docMk/>
                <pc:sldMk cId="1299719781" sldId="2147482156"/>
                <pc2:cmMk id="{5794095D-64ED-4542-8F5E-83FFD7ACE544}"/>
              </pc2:cmMkLst>
            </pc226:cmChg>
            <pc226:cmChg xmlns:pc226="http://schemas.microsoft.com/office/powerpoint/2022/06/main/command" chg="">
              <pc226:chgData name="Henry Hulter (Contractor)" userId="S::henry.hulter@gilead.com::61776daa-1f15-439c-abbe-da88991fe9d1" providerId="AD" clId="Web-{53A059EA-5CD2-EBB6-11A6-6A0A4B89DE78}" dt="2024-05-15T18:25:41.574" v="1"/>
              <pc2:cmMkLst xmlns:pc2="http://schemas.microsoft.com/office/powerpoint/2019/9/main/command">
                <pc:docMk/>
                <pc:sldMk cId="1299719781" sldId="2147482156"/>
                <pc2:cmMk id="{8156AA9C-47B8-4F77-BBA6-1C855EE557B7}"/>
              </pc2:cmMkLst>
              <pc226:cmRplyChg chg="add">
                <pc226:chgData name="Henry Hulter (Contractor)" userId="S::henry.hulter@gilead.com::61776daa-1f15-439c-abbe-da88991fe9d1" providerId="AD" clId="Web-{53A059EA-5CD2-EBB6-11A6-6A0A4B89DE78}" dt="2024-05-15T18:25:41.574" v="1"/>
                <pc2:cmRplyMkLst xmlns:pc2="http://schemas.microsoft.com/office/powerpoint/2019/9/main/command">
                  <pc:docMk/>
                  <pc:sldMk cId="1299719781" sldId="2147482156"/>
                  <pc2:cmMk id="{8156AA9C-47B8-4F77-BBA6-1C855EE557B7}"/>
                  <pc2:cmRplyMk id="{F1050042-A398-485C-B498-1A8807AE310C}"/>
                </pc2:cmRplyMkLst>
              </pc226:cmRplyChg>
            </pc226:cmChg>
          </p:ext>
        </pc:extLst>
      </pc:sldChg>
    </pc:docChg>
  </pc:docChgLst>
  <pc:docChgLst>
    <pc:chgData name="Rick McGirt" userId="S::rick.mcgirt@gilead.com::084dd1c1-4729-48d2-b350-e5921353a72c" providerId="AD" clId="Web-{C85A1873-9364-E036-4130-F9DEBF30B550}"/>
    <pc:docChg chg="modSld">
      <pc:chgData name="Rick McGirt" userId="S::rick.mcgirt@gilead.com::084dd1c1-4729-48d2-b350-e5921353a72c" providerId="AD" clId="Web-{C85A1873-9364-E036-4130-F9DEBF30B550}" dt="2024-03-18T05:51:38.503" v="531"/>
      <pc:docMkLst>
        <pc:docMk/>
      </pc:docMkLst>
      <pc:sldChg chg="modSp">
        <pc:chgData name="Rick McGirt" userId="S::rick.mcgirt@gilead.com::084dd1c1-4729-48d2-b350-e5921353a72c" providerId="AD" clId="Web-{C85A1873-9364-E036-4130-F9DEBF30B550}" dt="2024-03-18T05:51:38.503" v="531"/>
        <pc:sldMkLst>
          <pc:docMk/>
          <pc:sldMk cId="2584841147" sldId="2147471742"/>
        </pc:sldMkLst>
        <pc:graphicFrameChg chg="mod modGraphic">
          <ac:chgData name="Rick McGirt" userId="S::rick.mcgirt@gilead.com::084dd1c1-4729-48d2-b350-e5921353a72c" providerId="AD" clId="Web-{C85A1873-9364-E036-4130-F9DEBF30B550}" dt="2024-03-18T05:51:38.503" v="531"/>
          <ac:graphicFrameMkLst>
            <pc:docMk/>
            <pc:sldMk cId="2584841147" sldId="2147471742"/>
            <ac:graphicFrameMk id="2" creationId="{3B163526-BF01-46CA-8C94-CE7564279017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AAC698C-573B-2645-822C-EB630962E39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D773C3-3F6A-5E47-992F-9E36DA6F77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78625986-F7E3-FB4E-BFD2-9CA1D5A44BFD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794A69-5FE4-3E4E-848D-98E71AC7821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734878-53A5-D441-A64C-EF631CD25B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19AAC908-D68A-B146-BE89-B13BCB38E5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5747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320CC4C0-4BEC-6A42-B274-47FC6FF54BFE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07BF232A-D0AC-9B4F-A822-05618EDB3A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543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as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F232A-D0AC-9B4F-A822-05618EDB3A6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39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F232A-D0AC-9B4F-A822-05618EDB3A6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3017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3D921-D5E3-40BC-9535-D05BB8E0671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009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1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865520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02991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F232A-D0AC-9B4F-A822-05618EDB3A6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5272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581262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413704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20529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07240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F232A-D0AC-9B4F-A822-05618EDB3A6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8686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as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BF232A-D0AC-9B4F-A822-05618EDB3A6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4888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Xiaom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4139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Xiaom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39327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Xiaom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992159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662460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Xiaom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26695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ndr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547926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Xiaom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9137283-834E-40B9-805E-F33A9A6D69DD}" type="slidenum">
              <a:rPr lang="en-US" altLang="en-US" smtClean="0"/>
              <a:pPr>
                <a:defRPr/>
              </a:pPr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60201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3.emf"/><Relationship Id="rId4" Type="http://schemas.openxmlformats.org/officeDocument/2006/relationships/tags" Target="../tags/tag12.xml"/><Relationship Id="rId9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0767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406140" cy="435133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72048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1" y="1189899"/>
            <a:ext cx="5169520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0793998-CC84-E64D-8A94-F65145AB7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07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3D04CDF-30AA-BD42-9801-F9501FB5719E}"/>
              </a:ext>
            </a:extLst>
          </p:cNvPr>
          <p:cNvSpPr txBox="1">
            <a:spLocks/>
          </p:cNvSpPr>
          <p:nvPr userDrawn="1"/>
        </p:nvSpPr>
        <p:spPr>
          <a:xfrm>
            <a:off x="7803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485C5B-773B-DE46-85DF-AACE4DA08667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531428" y="1189899"/>
            <a:ext cx="5053353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 </a:t>
            </a:r>
          </a:p>
        </p:txBody>
      </p:sp>
    </p:spTree>
    <p:extLst>
      <p:ext uri="{BB962C8B-B14F-4D97-AF65-F5344CB8AC3E}">
        <p14:creationId xmlns:p14="http://schemas.microsoft.com/office/powerpoint/2010/main" val="28567642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11BB367-3720-D040-9568-E85258049C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07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33D9061-B4C8-E14D-8CCD-998F2E9D900D}"/>
              </a:ext>
            </a:extLst>
          </p:cNvPr>
          <p:cNvSpPr txBox="1">
            <a:spLocks/>
          </p:cNvSpPr>
          <p:nvPr userDrawn="1"/>
        </p:nvSpPr>
        <p:spPr>
          <a:xfrm>
            <a:off x="7803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89A7CD5-599F-5647-A261-6F4FC4C7C71D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531428" y="1189899"/>
            <a:ext cx="5141763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5800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0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07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7803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690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31429" y="1189899"/>
            <a:ext cx="514176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999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914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400353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9182158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218814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9793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0317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0601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7753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8088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97678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341120"/>
            <a:ext cx="11235267" cy="4351339"/>
          </a:xfrm>
        </p:spPr>
        <p:txBody>
          <a:bodyPr/>
          <a:lstStyle>
            <a:lvl2pPr marL="615935" indent="-309026">
              <a:tabLst/>
              <a:defRPr/>
            </a:lvl2pPr>
            <a:lvl3pPr marL="912261" indent="-296326">
              <a:tabLst/>
              <a:defRPr/>
            </a:lvl3pPr>
            <a:lvl4pPr marL="1219170" indent="-306910">
              <a:tabLst/>
              <a:defRPr/>
            </a:lvl4pPr>
            <a:lvl5pPr marL="1526079" indent="-30691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B8F889-1994-4244-85D0-407CA0EEF6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33320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8" y="0"/>
            <a:ext cx="1218776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5219701" y="1957918"/>
            <a:ext cx="6481233" cy="4908549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en-US" altLang="en-US" sz="24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2001" y="6119284"/>
            <a:ext cx="1750484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5524500" y="2247901"/>
            <a:ext cx="5877984" cy="613488"/>
          </a:xfrm>
        </p:spPr>
        <p:txBody>
          <a:bodyPr/>
          <a:lstStyle>
            <a:lvl1pPr marL="0" indent="0">
              <a:buNone/>
              <a:defRPr sz="3733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524500" y="2945151"/>
            <a:ext cx="5877984" cy="524933"/>
          </a:xfrm>
        </p:spPr>
        <p:txBody>
          <a:bodyPr/>
          <a:lstStyle>
            <a:lvl1pPr marL="0" indent="0">
              <a:buNone/>
              <a:defRPr sz="37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5524500" y="4569885"/>
            <a:ext cx="5877984" cy="4147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5524500" y="4926188"/>
            <a:ext cx="5877984" cy="4147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524500" y="5469132"/>
            <a:ext cx="5877984" cy="414736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58124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341120"/>
            <a:ext cx="11235267" cy="4351339"/>
          </a:xfrm>
        </p:spPr>
        <p:txBody>
          <a:bodyPr/>
          <a:lstStyle>
            <a:lvl2pPr marL="615935" indent="-309026">
              <a:tabLst/>
              <a:defRPr/>
            </a:lvl2pPr>
            <a:lvl3pPr marL="912261" indent="-296326">
              <a:tabLst/>
              <a:defRPr/>
            </a:lvl3pPr>
            <a:lvl4pPr marL="1219170" indent="-306910">
              <a:tabLst/>
              <a:defRPr/>
            </a:lvl4pPr>
            <a:lvl5pPr marL="1526079" indent="-30691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B8F889-1994-4244-85D0-407CA0EEF6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321193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935567"/>
            <a:ext cx="12192000" cy="628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626533" y="36173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921" y="2223606"/>
            <a:ext cx="10848879" cy="13903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733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48D88AF-682E-4B51-B288-0A04CAE0987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637021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3184" y="1381125"/>
            <a:ext cx="5526616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81125"/>
            <a:ext cx="5556251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CDA74-441D-4E33-A0D4-C4F6A79C684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81984" y="6356351"/>
            <a:ext cx="471349" cy="366183"/>
          </a:xfrm>
          <a:prstGeom prst="rect">
            <a:avLst/>
          </a:prstGeom>
        </p:spPr>
        <p:txBody>
          <a:bodyPr vert="horz" wrap="square" lIns="91464" tIns="45732" rIns="91464" bIns="45732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defTabSz="685800" rtl="0" eaLnBrk="1" fontAlgn="base" hangingPunct="1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indent="1143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85800" indent="2286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28700" indent="3429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71600" indent="4572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756DC54C-9938-4130-9520-D071717EBB89}" type="slidenum">
              <a:rPr lang="en-US" altLang="en-US" sz="800" smtClean="0"/>
              <a:pPr>
                <a:defRPr/>
              </a:pPr>
              <a:t>‹#›</a:t>
            </a:fld>
            <a:endParaRPr lang="en-US" altLang="en-US" sz="800"/>
          </a:p>
        </p:txBody>
      </p:sp>
    </p:spTree>
    <p:extLst>
      <p:ext uri="{BB962C8B-B14F-4D97-AF65-F5344CB8AC3E}">
        <p14:creationId xmlns:p14="http://schemas.microsoft.com/office/powerpoint/2010/main" val="16167607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C4CAB7-6134-4E86-A5A6-E65258778CA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66996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935567"/>
            <a:ext cx="12192000" cy="628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0A5FB-C871-420E-9042-B28D311098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21239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eft-H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206501"/>
            <a:ext cx="3727451" cy="5651500"/>
          </a:xfrm>
          <a:prstGeom prst="rect">
            <a:avLst/>
          </a:prstGeom>
          <a:gradFill flip="none" rotWithShape="1">
            <a:gsLst>
              <a:gs pos="30000">
                <a:schemeClr val="bg1">
                  <a:alpha val="38000"/>
                </a:schemeClr>
              </a:gs>
              <a:gs pos="62000">
                <a:schemeClr val="bg1">
                  <a:lumMod val="85000"/>
                  <a:alpha val="38000"/>
                </a:schemeClr>
              </a:gs>
              <a:gs pos="100000">
                <a:schemeClr val="bg1">
                  <a:lumMod val="75000"/>
                  <a:alpha val="38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0" tIns="45689" rIns="91380" bIns="45689"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65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12616" y="1415596"/>
            <a:ext cx="7342773" cy="4445456"/>
          </a:xfrm>
        </p:spPr>
        <p:txBody>
          <a:bodyPr/>
          <a:lstStyle>
            <a:lvl1pPr>
              <a:defRPr sz="2397"/>
            </a:lvl1pPr>
            <a:lvl2pPr>
              <a:defRPr sz="1865"/>
            </a:lvl2pPr>
            <a:lvl3pPr>
              <a:defRPr sz="1865"/>
            </a:lvl3pPr>
            <a:lvl4pPr>
              <a:defRPr sz="1865"/>
            </a:lvl4pPr>
            <a:lvl5pPr>
              <a:defRPr sz="1865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3185" y="1415147"/>
            <a:ext cx="3234139" cy="4453845"/>
          </a:xfrm>
        </p:spPr>
        <p:txBody>
          <a:bodyPr>
            <a:normAutofit/>
          </a:bodyPr>
          <a:lstStyle>
            <a:lvl1pPr marL="0" indent="0">
              <a:buNone/>
              <a:defRPr sz="3197" i="1">
                <a:solidFill>
                  <a:schemeClr val="bg1">
                    <a:lumMod val="50000"/>
                  </a:schemeClr>
                </a:solidFill>
              </a:defRPr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9FA79-9542-4B58-88CD-2C0B05FB7C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13917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22014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-H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066618" y="1206501"/>
            <a:ext cx="4125383" cy="5651500"/>
          </a:xfrm>
          <a:prstGeom prst="rect">
            <a:avLst/>
          </a:prstGeom>
          <a:gradFill flip="none" rotWithShape="1">
            <a:gsLst>
              <a:gs pos="30000">
                <a:schemeClr val="bg1">
                  <a:alpha val="38000"/>
                </a:schemeClr>
              </a:gs>
              <a:gs pos="62000">
                <a:schemeClr val="bg1">
                  <a:lumMod val="85000"/>
                  <a:alpha val="38000"/>
                </a:schemeClr>
              </a:gs>
              <a:gs pos="100000">
                <a:schemeClr val="bg1">
                  <a:lumMod val="75000"/>
                  <a:alpha val="38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0" tIns="45689" rIns="91380" bIns="45689"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65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415596"/>
            <a:ext cx="7573240" cy="4445456"/>
          </a:xfrm>
        </p:spPr>
        <p:txBody>
          <a:bodyPr/>
          <a:lstStyle>
            <a:lvl1pPr>
              <a:defRPr sz="2397"/>
            </a:lvl1pPr>
            <a:lvl2pPr>
              <a:defRPr sz="1865"/>
            </a:lvl2pPr>
            <a:lvl3pPr>
              <a:defRPr sz="1865"/>
            </a:lvl3pPr>
            <a:lvl4pPr>
              <a:defRPr sz="1865"/>
            </a:lvl4pPr>
            <a:lvl5pPr>
              <a:defRPr sz="1865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63467" y="1415147"/>
            <a:ext cx="3464984" cy="4453845"/>
          </a:xfrm>
        </p:spPr>
        <p:txBody>
          <a:bodyPr>
            <a:normAutofit/>
          </a:bodyPr>
          <a:lstStyle>
            <a:lvl1pPr marL="0" indent="0">
              <a:buNone/>
              <a:defRPr sz="3197" i="1">
                <a:solidFill>
                  <a:schemeClr val="bg1">
                    <a:lumMod val="50000"/>
                  </a:schemeClr>
                </a:solidFill>
              </a:defRPr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7549020" y="6373285"/>
            <a:ext cx="471349" cy="36618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9202D8-0A51-4B05-98B2-825AF3D2FA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901974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7" y="1352739"/>
            <a:ext cx="6405369" cy="4508315"/>
          </a:xfrm>
          <a:noFill/>
        </p:spPr>
        <p:txBody>
          <a:bodyPr rtlCol="0">
            <a:noAutofit/>
          </a:bodyPr>
          <a:lstStyle>
            <a:lvl1pPr marL="0" indent="0">
              <a:buNone/>
              <a:defRPr sz="3197"/>
            </a:lvl1pPr>
            <a:lvl2pPr marL="456897" indent="0">
              <a:buNone/>
              <a:defRPr sz="2797"/>
            </a:lvl2pPr>
            <a:lvl3pPr marL="913798" indent="0">
              <a:buNone/>
              <a:defRPr sz="2397"/>
            </a:lvl3pPr>
            <a:lvl4pPr marL="1370695" indent="0">
              <a:buNone/>
              <a:defRPr sz="1999"/>
            </a:lvl4pPr>
            <a:lvl5pPr marL="1827594" indent="0">
              <a:buNone/>
              <a:defRPr sz="1999"/>
            </a:lvl5pPr>
            <a:lvl6pPr marL="2284494" indent="0">
              <a:buNone/>
              <a:defRPr sz="1999"/>
            </a:lvl6pPr>
            <a:lvl7pPr marL="2741391" indent="0">
              <a:buNone/>
              <a:defRPr sz="1999"/>
            </a:lvl7pPr>
            <a:lvl8pPr marL="3198289" indent="0">
              <a:buNone/>
              <a:defRPr sz="1999"/>
            </a:lvl8pPr>
            <a:lvl9pPr marL="3655187" indent="0">
              <a:buNone/>
              <a:defRPr sz="1999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3185" y="1352739"/>
            <a:ext cx="4278841" cy="4516252"/>
          </a:xfrm>
        </p:spPr>
        <p:txBody>
          <a:bodyPr/>
          <a:lstStyle>
            <a:lvl1pPr marL="0" indent="0">
              <a:buNone/>
              <a:defRPr sz="2397"/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B950C-1D2D-4052-A392-F6DB93CEE22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27349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68C4BB-CE40-4AB3-96DE-741D13EB19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64560"/>
            <a:ext cx="4719637" cy="419641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i="0" kern="1600" spc="-50" baseline="0" dirty="0" smtClean="0">
                <a:solidFill>
                  <a:schemeClr val="accent1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543193"/>
            <a:ext cx="11093116" cy="419641"/>
          </a:xfrm>
        </p:spPr>
        <p:txBody>
          <a:bodyPr anchor="t"/>
          <a:lstStyle>
            <a:lvl1pPr algn="l">
              <a:lnSpc>
                <a:spcPct val="80000"/>
              </a:lnSpc>
              <a:defRPr sz="24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4883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7803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90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53188" y="1189899"/>
            <a:ext cx="5220003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9977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713B33-08BD-F712-CE3C-C23F7FB23FA0}"/>
              </a:ext>
            </a:extLst>
          </p:cNvPr>
          <p:cNvSpPr/>
          <p:nvPr userDrawn="1"/>
        </p:nvSpPr>
        <p:spPr>
          <a:xfrm>
            <a:off x="-18521" y="0"/>
            <a:ext cx="9601200" cy="6858000"/>
          </a:xfrm>
          <a:prstGeom prst="rect">
            <a:avLst/>
          </a:prstGeom>
          <a:gradFill>
            <a:gsLst>
              <a:gs pos="100000">
                <a:srgbClr val="142841">
                  <a:alpha val="0"/>
                </a:srgbClr>
              </a:gs>
              <a:gs pos="0">
                <a:srgbClr val="14284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35B354-194B-EA37-FB71-2E6DAD4652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42841">
              <a:alpha val="8318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30B319-6C62-473A-A18F-FF71068103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33917"/>
            <a:ext cx="10515599" cy="90540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i="0" kern="1200" cap="all" spc="100" baseline="0" dirty="0">
                <a:solidFill>
                  <a:srgbClr val="D4EAF7"/>
                </a:solidFill>
                <a:effectLst/>
                <a:latin typeface="Arial Black" panose="020B0604020202020204" pitchFamily="34" charset="0"/>
                <a:ea typeface="Verdana" panose="020B060403050404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439AA89-8ECD-713E-F09C-36401200EDFA}"/>
              </a:ext>
            </a:extLst>
          </p:cNvPr>
          <p:cNvSpPr txBox="1">
            <a:spLocks/>
          </p:cNvSpPr>
          <p:nvPr userDrawn="1"/>
        </p:nvSpPr>
        <p:spPr>
          <a:xfrm>
            <a:off x="2095500" y="6544182"/>
            <a:ext cx="8001000" cy="2182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50" b="0" i="0" u="none" strike="noStrike" cap="none" spc="50" baseline="0">
                <a:solidFill>
                  <a:schemeClr val="bg1"/>
                </a:solidFill>
                <a:latin typeface="Calibri Light" panose="020F0302020204030204" pitchFamily="34" charset="0"/>
                <a:ea typeface="Arial"/>
                <a:cs typeface="Calibri Light" panose="020F0302020204030204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0" i="0">
                <a:solidFill>
                  <a:schemeClr val="bg1">
                    <a:lumMod val="6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GILEAD CONFIDENTIAL AND PROPRIETARY.  FOR INTERNAL TRAINING USE ONLY.</a:t>
            </a:r>
          </a:p>
        </p:txBody>
      </p:sp>
      <p:pic>
        <p:nvPicPr>
          <p:cNvPr id="4" name="Picture 3" descr="Text, logo&#10;&#10;Description automatically generated">
            <a:extLst>
              <a:ext uri="{FF2B5EF4-FFF2-40B4-BE49-F238E27FC236}">
                <a16:creationId xmlns:a16="http://schemas.microsoft.com/office/drawing/2014/main" id="{8EFBE26E-A258-1BA1-3760-36A4CCAEAF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2559" y="5925080"/>
            <a:ext cx="1869440" cy="1051560"/>
          </a:xfrm>
          <a:prstGeom prst="rect">
            <a:avLst/>
          </a:prstGeom>
          <a:effectLst>
            <a:outerShdw blurRad="92486" sx="102000" sy="102000" algn="ctr" rotWithShape="0">
              <a:prstClr val="black">
                <a:alpha val="38983"/>
              </a:prst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3FB33FD-D7B7-8541-B226-C8120711C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951"/>
          <a:stretch/>
        </p:blipFill>
        <p:spPr>
          <a:xfrm>
            <a:off x="265176" y="6373368"/>
            <a:ext cx="919568" cy="41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717564"/>
      </p:ext>
    </p:extLst>
  </p:cSld>
  <p:clrMapOvr>
    <a:masterClrMapping/>
  </p:clrMapOvr>
  <p:transition spd="slow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8" y="0"/>
            <a:ext cx="1218776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5219701" y="1957918"/>
            <a:ext cx="6481233" cy="4908549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en-US" altLang="en-US" sz="24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2001" y="6119284"/>
            <a:ext cx="1750484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5524500" y="2247901"/>
            <a:ext cx="5877984" cy="613488"/>
          </a:xfrm>
        </p:spPr>
        <p:txBody>
          <a:bodyPr/>
          <a:lstStyle>
            <a:lvl1pPr marL="0" indent="0">
              <a:buNone/>
              <a:defRPr sz="3733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524500" y="2945151"/>
            <a:ext cx="5877984" cy="524933"/>
          </a:xfrm>
        </p:spPr>
        <p:txBody>
          <a:bodyPr/>
          <a:lstStyle>
            <a:lvl1pPr marL="0" indent="0">
              <a:buNone/>
              <a:defRPr sz="37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5524500" y="4569885"/>
            <a:ext cx="5877984" cy="4147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5524500" y="4926188"/>
            <a:ext cx="5877984" cy="4147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524500" y="5469132"/>
            <a:ext cx="5877984" cy="414736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41182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341120"/>
            <a:ext cx="11235267" cy="4351339"/>
          </a:xfrm>
        </p:spPr>
        <p:txBody>
          <a:bodyPr/>
          <a:lstStyle>
            <a:lvl2pPr marL="615935" indent="-309026">
              <a:tabLst/>
              <a:defRPr/>
            </a:lvl2pPr>
            <a:lvl3pPr marL="912261" indent="-296326">
              <a:tabLst/>
              <a:defRPr/>
            </a:lvl3pPr>
            <a:lvl4pPr marL="1219170" indent="-306910">
              <a:tabLst/>
              <a:defRPr/>
            </a:lvl4pPr>
            <a:lvl5pPr marL="1526079" indent="-306910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B8F889-1994-4244-85D0-407CA0EEF6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2749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935567"/>
            <a:ext cx="12192000" cy="628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626533" y="36173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921" y="2223606"/>
            <a:ext cx="10848879" cy="13903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733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48D88AF-682E-4B51-B288-0A04CAE0987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760292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3184" y="1381125"/>
            <a:ext cx="5526616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81125"/>
            <a:ext cx="5556251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CDA74-441D-4E33-A0D4-C4F6A79C684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81984" y="6356351"/>
            <a:ext cx="471349" cy="366183"/>
          </a:xfrm>
          <a:prstGeom prst="rect">
            <a:avLst/>
          </a:prstGeom>
        </p:spPr>
        <p:txBody>
          <a:bodyPr vert="horz" wrap="square" lIns="91464" tIns="45732" rIns="91464" bIns="45732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defTabSz="685800" rtl="0" eaLnBrk="1" fontAlgn="base" hangingPunct="1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indent="1143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85800" indent="2286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28700" indent="3429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71600" indent="4572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756DC54C-9938-4130-9520-D071717EBB89}" type="slidenum">
              <a:rPr lang="en-US" altLang="en-US" sz="800" smtClean="0"/>
              <a:pPr>
                <a:defRPr/>
              </a:pPr>
              <a:t>‹#›</a:t>
            </a:fld>
            <a:endParaRPr lang="en-US" altLang="en-US" sz="800"/>
          </a:p>
        </p:txBody>
      </p:sp>
    </p:spTree>
    <p:extLst>
      <p:ext uri="{BB962C8B-B14F-4D97-AF65-F5344CB8AC3E}">
        <p14:creationId xmlns:p14="http://schemas.microsoft.com/office/powerpoint/2010/main" val="9146215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C4CAB7-6134-4E86-A5A6-E65258778CA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868591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22616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935567"/>
            <a:ext cx="12192000" cy="628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0A5FB-C871-420E-9042-B28D311098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890472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eft-H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206501"/>
            <a:ext cx="3727451" cy="5651500"/>
          </a:xfrm>
          <a:prstGeom prst="rect">
            <a:avLst/>
          </a:prstGeom>
          <a:gradFill flip="none" rotWithShape="1">
            <a:gsLst>
              <a:gs pos="30000">
                <a:schemeClr val="bg1">
                  <a:alpha val="38000"/>
                </a:schemeClr>
              </a:gs>
              <a:gs pos="62000">
                <a:schemeClr val="bg1">
                  <a:lumMod val="85000"/>
                  <a:alpha val="38000"/>
                </a:schemeClr>
              </a:gs>
              <a:gs pos="100000">
                <a:schemeClr val="bg1">
                  <a:lumMod val="75000"/>
                  <a:alpha val="38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0" tIns="45689" rIns="91380" bIns="45689"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65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12616" y="1415596"/>
            <a:ext cx="7342773" cy="4445456"/>
          </a:xfrm>
        </p:spPr>
        <p:txBody>
          <a:bodyPr/>
          <a:lstStyle>
            <a:lvl1pPr>
              <a:defRPr sz="2397"/>
            </a:lvl1pPr>
            <a:lvl2pPr>
              <a:defRPr sz="1865"/>
            </a:lvl2pPr>
            <a:lvl3pPr>
              <a:defRPr sz="1865"/>
            </a:lvl3pPr>
            <a:lvl4pPr>
              <a:defRPr sz="1865"/>
            </a:lvl4pPr>
            <a:lvl5pPr>
              <a:defRPr sz="1865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3185" y="1415147"/>
            <a:ext cx="3234139" cy="4453845"/>
          </a:xfrm>
        </p:spPr>
        <p:txBody>
          <a:bodyPr>
            <a:normAutofit/>
          </a:bodyPr>
          <a:lstStyle>
            <a:lvl1pPr marL="0" indent="0">
              <a:buNone/>
              <a:defRPr sz="3197" i="1">
                <a:solidFill>
                  <a:schemeClr val="bg1">
                    <a:lumMod val="50000"/>
                  </a:schemeClr>
                </a:solidFill>
              </a:defRPr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9FA79-9542-4B58-88CD-2C0B05FB7C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79001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-H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066618" y="1206501"/>
            <a:ext cx="4125383" cy="5651500"/>
          </a:xfrm>
          <a:prstGeom prst="rect">
            <a:avLst/>
          </a:prstGeom>
          <a:gradFill flip="none" rotWithShape="1">
            <a:gsLst>
              <a:gs pos="30000">
                <a:schemeClr val="bg1">
                  <a:alpha val="38000"/>
                </a:schemeClr>
              </a:gs>
              <a:gs pos="62000">
                <a:schemeClr val="bg1">
                  <a:lumMod val="85000"/>
                  <a:alpha val="38000"/>
                </a:schemeClr>
              </a:gs>
              <a:gs pos="100000">
                <a:schemeClr val="bg1">
                  <a:lumMod val="75000"/>
                  <a:alpha val="38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0" tIns="45689" rIns="91380" bIns="45689"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65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415596"/>
            <a:ext cx="7573240" cy="4445456"/>
          </a:xfrm>
        </p:spPr>
        <p:txBody>
          <a:bodyPr/>
          <a:lstStyle>
            <a:lvl1pPr>
              <a:defRPr sz="2397"/>
            </a:lvl1pPr>
            <a:lvl2pPr>
              <a:defRPr sz="1865"/>
            </a:lvl2pPr>
            <a:lvl3pPr>
              <a:defRPr sz="1865"/>
            </a:lvl3pPr>
            <a:lvl4pPr>
              <a:defRPr sz="1865"/>
            </a:lvl4pPr>
            <a:lvl5pPr>
              <a:defRPr sz="1865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63467" y="1415147"/>
            <a:ext cx="3464984" cy="4453845"/>
          </a:xfrm>
        </p:spPr>
        <p:txBody>
          <a:bodyPr>
            <a:normAutofit/>
          </a:bodyPr>
          <a:lstStyle>
            <a:lvl1pPr marL="0" indent="0">
              <a:buNone/>
              <a:defRPr sz="3197" i="1">
                <a:solidFill>
                  <a:schemeClr val="bg1">
                    <a:lumMod val="50000"/>
                  </a:schemeClr>
                </a:solidFill>
              </a:defRPr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7549020" y="6373285"/>
            <a:ext cx="471349" cy="36618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9202D8-0A51-4B05-98B2-825AF3D2FA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294676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7" y="1352739"/>
            <a:ext cx="6405369" cy="4508315"/>
          </a:xfrm>
          <a:noFill/>
        </p:spPr>
        <p:txBody>
          <a:bodyPr rtlCol="0">
            <a:noAutofit/>
          </a:bodyPr>
          <a:lstStyle>
            <a:lvl1pPr marL="0" indent="0">
              <a:buNone/>
              <a:defRPr sz="3197"/>
            </a:lvl1pPr>
            <a:lvl2pPr marL="456897" indent="0">
              <a:buNone/>
              <a:defRPr sz="2797"/>
            </a:lvl2pPr>
            <a:lvl3pPr marL="913798" indent="0">
              <a:buNone/>
              <a:defRPr sz="2397"/>
            </a:lvl3pPr>
            <a:lvl4pPr marL="1370695" indent="0">
              <a:buNone/>
              <a:defRPr sz="1999"/>
            </a:lvl4pPr>
            <a:lvl5pPr marL="1827594" indent="0">
              <a:buNone/>
              <a:defRPr sz="1999"/>
            </a:lvl5pPr>
            <a:lvl6pPr marL="2284494" indent="0">
              <a:buNone/>
              <a:defRPr sz="1999"/>
            </a:lvl6pPr>
            <a:lvl7pPr marL="2741391" indent="0">
              <a:buNone/>
              <a:defRPr sz="1999"/>
            </a:lvl7pPr>
            <a:lvl8pPr marL="3198289" indent="0">
              <a:buNone/>
              <a:defRPr sz="1999"/>
            </a:lvl8pPr>
            <a:lvl9pPr marL="3655187" indent="0">
              <a:buNone/>
              <a:defRPr sz="1999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3185" y="1352739"/>
            <a:ext cx="4278841" cy="4516252"/>
          </a:xfrm>
        </p:spPr>
        <p:txBody>
          <a:bodyPr/>
          <a:lstStyle>
            <a:lvl1pPr marL="0" indent="0">
              <a:buNone/>
              <a:defRPr sz="2397"/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B950C-1D2D-4052-A392-F6DB93CEE22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325281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68C4BB-CE40-4AB3-96DE-741D13EB19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64560"/>
            <a:ext cx="4719637" cy="419641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i="0" kern="1600" spc="-50" baseline="0" dirty="0" smtClean="0">
                <a:solidFill>
                  <a:schemeClr val="accent1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543193"/>
            <a:ext cx="11093116" cy="419641"/>
          </a:xfrm>
        </p:spPr>
        <p:txBody>
          <a:bodyPr anchor="t"/>
          <a:lstStyle>
            <a:lvl1pPr algn="l">
              <a:lnSpc>
                <a:spcPct val="80000"/>
              </a:lnSpc>
              <a:defRPr sz="24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2275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7803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90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53188" y="1189899"/>
            <a:ext cx="5220003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2165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713B33-08BD-F712-CE3C-C23F7FB23FA0}"/>
              </a:ext>
            </a:extLst>
          </p:cNvPr>
          <p:cNvSpPr/>
          <p:nvPr userDrawn="1"/>
        </p:nvSpPr>
        <p:spPr>
          <a:xfrm>
            <a:off x="-18521" y="0"/>
            <a:ext cx="9601200" cy="6858000"/>
          </a:xfrm>
          <a:prstGeom prst="rect">
            <a:avLst/>
          </a:prstGeom>
          <a:gradFill>
            <a:gsLst>
              <a:gs pos="100000">
                <a:srgbClr val="142841">
                  <a:alpha val="0"/>
                </a:srgbClr>
              </a:gs>
              <a:gs pos="0">
                <a:srgbClr val="14284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535B354-194B-EA37-FB71-2E6DAD4652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42841">
              <a:alpha val="8318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30B319-6C62-473A-A18F-FF71068103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33917"/>
            <a:ext cx="10515599" cy="90540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i="0" kern="1200" cap="all" spc="100" baseline="0" dirty="0">
                <a:solidFill>
                  <a:srgbClr val="D4EAF7"/>
                </a:solidFill>
                <a:effectLst/>
                <a:latin typeface="Arial Black" panose="020B0604020202020204" pitchFamily="34" charset="0"/>
                <a:ea typeface="Verdana" panose="020B060403050404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439AA89-8ECD-713E-F09C-36401200EDFA}"/>
              </a:ext>
            </a:extLst>
          </p:cNvPr>
          <p:cNvSpPr txBox="1">
            <a:spLocks/>
          </p:cNvSpPr>
          <p:nvPr userDrawn="1"/>
        </p:nvSpPr>
        <p:spPr>
          <a:xfrm>
            <a:off x="2095500" y="6544182"/>
            <a:ext cx="8001000" cy="2182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750" b="0" i="0" u="none" strike="noStrike" cap="none" spc="50" baseline="0">
                <a:solidFill>
                  <a:schemeClr val="bg1"/>
                </a:solidFill>
                <a:latin typeface="Calibri Light" panose="020F0302020204030204" pitchFamily="34" charset="0"/>
                <a:ea typeface="Arial"/>
                <a:cs typeface="Calibri Light" panose="020F0302020204030204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0" i="0">
                <a:solidFill>
                  <a:schemeClr val="bg1">
                    <a:lumMod val="6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GILEAD CONFIDENTIAL AND PROPRIETARY.  FOR INTERNAL TRAINING USE ONLY.</a:t>
            </a:r>
          </a:p>
        </p:txBody>
      </p:sp>
      <p:pic>
        <p:nvPicPr>
          <p:cNvPr id="4" name="Picture 3" descr="Text, logo&#10;&#10;Description automatically generated">
            <a:extLst>
              <a:ext uri="{FF2B5EF4-FFF2-40B4-BE49-F238E27FC236}">
                <a16:creationId xmlns:a16="http://schemas.microsoft.com/office/drawing/2014/main" id="{8EFBE26E-A258-1BA1-3760-36A4CCAEAF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2559" y="5925080"/>
            <a:ext cx="1869440" cy="1051560"/>
          </a:xfrm>
          <a:prstGeom prst="rect">
            <a:avLst/>
          </a:prstGeom>
          <a:effectLst>
            <a:outerShdw blurRad="92486" sx="102000" sy="102000" algn="ctr" rotWithShape="0">
              <a:prstClr val="black">
                <a:alpha val="38983"/>
              </a:prst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3FB33FD-D7B7-8541-B226-C8120711C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951"/>
          <a:stretch/>
        </p:blipFill>
        <p:spPr>
          <a:xfrm>
            <a:off x="265176" y="6373368"/>
            <a:ext cx="919568" cy="418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137802"/>
      </p:ext>
    </p:extLst>
  </p:cSld>
  <p:clrMapOvr>
    <a:masterClrMapping/>
  </p:clrMapOvr>
  <p:transition spd="slow"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112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8" y="0"/>
            <a:ext cx="1218776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5219701" y="1957918"/>
            <a:ext cx="6481233" cy="4908549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en-US" altLang="en-US" sz="24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2001" y="6119284"/>
            <a:ext cx="1750484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5524500" y="2247901"/>
            <a:ext cx="5877984" cy="613488"/>
          </a:xfrm>
        </p:spPr>
        <p:txBody>
          <a:bodyPr/>
          <a:lstStyle>
            <a:lvl1pPr marL="0" indent="0">
              <a:buNone/>
              <a:defRPr sz="3733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524500" y="2945151"/>
            <a:ext cx="5877984" cy="524933"/>
          </a:xfrm>
        </p:spPr>
        <p:txBody>
          <a:bodyPr/>
          <a:lstStyle>
            <a:lvl1pPr marL="0" indent="0">
              <a:buNone/>
              <a:defRPr sz="3733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5524500" y="4569885"/>
            <a:ext cx="5877984" cy="4147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5524500" y="4926188"/>
            <a:ext cx="5877984" cy="4147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524500" y="5469132"/>
            <a:ext cx="5877984" cy="414736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12618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341120"/>
            <a:ext cx="11235267" cy="4351339"/>
          </a:xfrm>
        </p:spPr>
        <p:txBody>
          <a:bodyPr/>
          <a:lstStyle>
            <a:lvl2pPr marL="615935" indent="-309026">
              <a:tabLst/>
              <a:defRPr/>
            </a:lvl2pPr>
            <a:lvl3pPr marL="912261" indent="-296326">
              <a:tabLst/>
              <a:defRPr/>
            </a:lvl3pPr>
            <a:lvl4pPr marL="1219170" indent="-306910">
              <a:tabLst/>
              <a:defRPr/>
            </a:lvl4pPr>
            <a:lvl5pPr marL="1526079" indent="-30691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B8F889-1994-4244-85D0-407CA0EEF6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180071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960532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935567"/>
            <a:ext cx="12192000" cy="628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626533" y="36173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921" y="2223606"/>
            <a:ext cx="10848879" cy="13903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733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48D88AF-682E-4B51-B288-0A04CAE0987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434123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3184" y="1381125"/>
            <a:ext cx="5526616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81125"/>
            <a:ext cx="5556251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CDA74-441D-4E33-A0D4-C4F6A79C684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81984" y="6356351"/>
            <a:ext cx="471349" cy="366183"/>
          </a:xfrm>
          <a:prstGeom prst="rect">
            <a:avLst/>
          </a:prstGeom>
        </p:spPr>
        <p:txBody>
          <a:bodyPr vert="horz" wrap="square" lIns="91464" tIns="45732" rIns="91464" bIns="45732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defTabSz="685800" rtl="0" eaLnBrk="1" fontAlgn="base" hangingPunct="1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indent="1143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85800" indent="2286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28700" indent="3429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71600" indent="4572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756DC54C-9938-4130-9520-D071717EBB89}" type="slidenum">
              <a:rPr lang="en-US" altLang="en-US" sz="800" smtClean="0"/>
              <a:pPr>
                <a:defRPr/>
              </a:pPr>
              <a:t>‹#›</a:t>
            </a:fld>
            <a:endParaRPr lang="en-US" altLang="en-US" sz="800"/>
          </a:p>
        </p:txBody>
      </p:sp>
    </p:spTree>
    <p:extLst>
      <p:ext uri="{BB962C8B-B14F-4D97-AF65-F5344CB8AC3E}">
        <p14:creationId xmlns:p14="http://schemas.microsoft.com/office/powerpoint/2010/main" val="14606053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C4CAB7-6134-4E86-A5A6-E65258778CA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63173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935567"/>
            <a:ext cx="12192000" cy="628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0A5FB-C871-420E-9042-B28D311098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046509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eft-H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206501"/>
            <a:ext cx="3727451" cy="5651500"/>
          </a:xfrm>
          <a:prstGeom prst="rect">
            <a:avLst/>
          </a:prstGeom>
          <a:gradFill flip="none" rotWithShape="1">
            <a:gsLst>
              <a:gs pos="30000">
                <a:schemeClr val="bg1">
                  <a:alpha val="38000"/>
                </a:schemeClr>
              </a:gs>
              <a:gs pos="62000">
                <a:schemeClr val="bg1">
                  <a:lumMod val="85000"/>
                  <a:alpha val="38000"/>
                </a:schemeClr>
              </a:gs>
              <a:gs pos="100000">
                <a:schemeClr val="bg1">
                  <a:lumMod val="75000"/>
                  <a:alpha val="38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0" tIns="45689" rIns="91380" bIns="45689"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65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12616" y="1415596"/>
            <a:ext cx="7342773" cy="4445456"/>
          </a:xfrm>
        </p:spPr>
        <p:txBody>
          <a:bodyPr/>
          <a:lstStyle>
            <a:lvl1pPr>
              <a:defRPr sz="2397"/>
            </a:lvl1pPr>
            <a:lvl2pPr>
              <a:defRPr sz="1865"/>
            </a:lvl2pPr>
            <a:lvl3pPr>
              <a:defRPr sz="1865"/>
            </a:lvl3pPr>
            <a:lvl4pPr>
              <a:defRPr sz="1865"/>
            </a:lvl4pPr>
            <a:lvl5pPr>
              <a:defRPr sz="1865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3185" y="1415147"/>
            <a:ext cx="3234139" cy="4453845"/>
          </a:xfrm>
        </p:spPr>
        <p:txBody>
          <a:bodyPr>
            <a:normAutofit/>
          </a:bodyPr>
          <a:lstStyle>
            <a:lvl1pPr marL="0" indent="0">
              <a:buNone/>
              <a:defRPr sz="3197" i="1">
                <a:solidFill>
                  <a:schemeClr val="bg1">
                    <a:lumMod val="50000"/>
                  </a:schemeClr>
                </a:solidFill>
              </a:defRPr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9FA79-9542-4B58-88CD-2C0B05FB7C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074789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-H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066618" y="1206501"/>
            <a:ext cx="4125383" cy="5651500"/>
          </a:xfrm>
          <a:prstGeom prst="rect">
            <a:avLst/>
          </a:prstGeom>
          <a:gradFill flip="none" rotWithShape="1">
            <a:gsLst>
              <a:gs pos="30000">
                <a:schemeClr val="bg1">
                  <a:alpha val="38000"/>
                </a:schemeClr>
              </a:gs>
              <a:gs pos="62000">
                <a:schemeClr val="bg1">
                  <a:lumMod val="85000"/>
                  <a:alpha val="38000"/>
                </a:schemeClr>
              </a:gs>
              <a:gs pos="100000">
                <a:schemeClr val="bg1">
                  <a:lumMod val="75000"/>
                  <a:alpha val="38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0" tIns="45689" rIns="91380" bIns="45689"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65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415596"/>
            <a:ext cx="7573240" cy="4445456"/>
          </a:xfrm>
        </p:spPr>
        <p:txBody>
          <a:bodyPr/>
          <a:lstStyle>
            <a:lvl1pPr>
              <a:defRPr sz="2397"/>
            </a:lvl1pPr>
            <a:lvl2pPr>
              <a:defRPr sz="1865"/>
            </a:lvl2pPr>
            <a:lvl3pPr>
              <a:defRPr sz="1865"/>
            </a:lvl3pPr>
            <a:lvl4pPr>
              <a:defRPr sz="1865"/>
            </a:lvl4pPr>
            <a:lvl5pPr>
              <a:defRPr sz="1865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63467" y="1415147"/>
            <a:ext cx="3464984" cy="4453845"/>
          </a:xfrm>
        </p:spPr>
        <p:txBody>
          <a:bodyPr>
            <a:normAutofit/>
          </a:bodyPr>
          <a:lstStyle>
            <a:lvl1pPr marL="0" indent="0">
              <a:buNone/>
              <a:defRPr sz="3197" i="1">
                <a:solidFill>
                  <a:schemeClr val="bg1">
                    <a:lumMod val="50000"/>
                  </a:schemeClr>
                </a:solidFill>
              </a:defRPr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7549020" y="6373285"/>
            <a:ext cx="471349" cy="36618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9202D8-0A51-4B05-98B2-825AF3D2FA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616358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7" y="1352739"/>
            <a:ext cx="6405369" cy="4508315"/>
          </a:xfrm>
          <a:noFill/>
        </p:spPr>
        <p:txBody>
          <a:bodyPr rtlCol="0">
            <a:noAutofit/>
          </a:bodyPr>
          <a:lstStyle>
            <a:lvl1pPr marL="0" indent="0">
              <a:buNone/>
              <a:defRPr sz="3197"/>
            </a:lvl1pPr>
            <a:lvl2pPr marL="456897" indent="0">
              <a:buNone/>
              <a:defRPr sz="2797"/>
            </a:lvl2pPr>
            <a:lvl3pPr marL="913798" indent="0">
              <a:buNone/>
              <a:defRPr sz="2397"/>
            </a:lvl3pPr>
            <a:lvl4pPr marL="1370695" indent="0">
              <a:buNone/>
              <a:defRPr sz="1999"/>
            </a:lvl4pPr>
            <a:lvl5pPr marL="1827594" indent="0">
              <a:buNone/>
              <a:defRPr sz="1999"/>
            </a:lvl5pPr>
            <a:lvl6pPr marL="2284494" indent="0">
              <a:buNone/>
              <a:defRPr sz="1999"/>
            </a:lvl6pPr>
            <a:lvl7pPr marL="2741391" indent="0">
              <a:buNone/>
              <a:defRPr sz="1999"/>
            </a:lvl7pPr>
            <a:lvl8pPr marL="3198289" indent="0">
              <a:buNone/>
              <a:defRPr sz="1999"/>
            </a:lvl8pPr>
            <a:lvl9pPr marL="3655187" indent="0">
              <a:buNone/>
              <a:defRPr sz="1999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3185" y="1352739"/>
            <a:ext cx="4278841" cy="4516252"/>
          </a:xfrm>
        </p:spPr>
        <p:txBody>
          <a:bodyPr/>
          <a:lstStyle>
            <a:lvl1pPr marL="0" indent="0">
              <a:buNone/>
              <a:defRPr sz="2397"/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B950C-1D2D-4052-A392-F6DB93CEE22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86958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0336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8293"/>
            <a:ext cx="10972800" cy="911640"/>
          </a:xfrm>
        </p:spPr>
        <p:txBody>
          <a:bodyPr anchor="ctr"/>
          <a:lstStyle>
            <a:lvl1pPr>
              <a:lnSpc>
                <a:spcPct val="90000"/>
              </a:lnSpc>
              <a:defRPr sz="37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453039" y="6492880"/>
            <a:ext cx="11293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rgbClr val="898989"/>
                </a:solidFill>
              </a:defRPr>
            </a:lvl1pPr>
          </a:lstStyle>
          <a:p>
            <a:pPr defTabSz="1625519">
              <a:defRPr/>
            </a:pPr>
            <a:r>
              <a:rPr lang="en-US"/>
              <a:t>Confidentia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0" y="6492880"/>
            <a:ext cx="8919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898989"/>
                </a:solidFill>
              </a:defRPr>
            </a:lvl1pPr>
          </a:lstStyle>
          <a:p>
            <a:pPr defTabSz="1625519">
              <a:defRPr/>
            </a:pPr>
            <a:r>
              <a:rPr lang="en-US"/>
              <a:t>Slide </a:t>
            </a:r>
            <a:fld id="{44CAC06D-E468-43AA-8697-C0ABA70C95D3}" type="slidenum">
              <a:rPr lang="en-US" smtClean="0"/>
              <a:pPr defTabSz="1625519">
                <a:defRPr/>
              </a:pPr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5938008"/>
            <a:ext cx="10972800" cy="523875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12740" indent="0">
              <a:buFontTx/>
              <a:buNone/>
              <a:defRPr sz="1867">
                <a:solidFill>
                  <a:srgbClr val="898989"/>
                </a:solidFill>
                <a:latin typeface="+mn-lt"/>
              </a:defRPr>
            </a:lvl2pPr>
            <a:lvl3pPr marL="1625479" indent="0">
              <a:buFontTx/>
              <a:buNone/>
              <a:defRPr sz="1867">
                <a:solidFill>
                  <a:srgbClr val="898989"/>
                </a:solidFill>
                <a:latin typeface="+mn-lt"/>
              </a:defRPr>
            </a:lvl3pPr>
            <a:lvl4pPr marL="2438218" indent="0">
              <a:buFontTx/>
              <a:buNone/>
              <a:defRPr sz="1867">
                <a:solidFill>
                  <a:srgbClr val="898989"/>
                </a:solidFill>
                <a:latin typeface="+mn-lt"/>
              </a:defRPr>
            </a:lvl4pPr>
            <a:lvl5pPr marL="3250956" indent="0">
              <a:buFontTx/>
              <a:buNone/>
              <a:defRPr sz="1867">
                <a:solidFill>
                  <a:srgbClr val="898989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59BCBD4-DB37-4E07-9AC3-FE1916F285DD}"/>
              </a:ext>
            </a:extLst>
          </p:cNvPr>
          <p:cNvCxnSpPr/>
          <p:nvPr userDrawn="1"/>
        </p:nvCxnSpPr>
        <p:spPr>
          <a:xfrm>
            <a:off x="609600" y="6477000"/>
            <a:ext cx="1097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7146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4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68C4BB-CE40-4AB3-96DE-741D13EB19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64560"/>
            <a:ext cx="4719637" cy="419641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b="0" i="0" kern="1600" spc="-50" baseline="0" dirty="0" smtClean="0">
                <a:solidFill>
                  <a:schemeClr val="accent1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1158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543193"/>
            <a:ext cx="11093116" cy="419641"/>
          </a:xfrm>
        </p:spPr>
        <p:txBody>
          <a:bodyPr anchor="t"/>
          <a:lstStyle>
            <a:lvl1pPr algn="l">
              <a:lnSpc>
                <a:spcPct val="80000"/>
              </a:lnSpc>
              <a:defRPr sz="24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57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316599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7803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90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53188" y="1189899"/>
            <a:ext cx="5220003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85301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319698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ntro/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0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7D8D2A-CF58-8646-89B3-2002D024A4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3901" y="619126"/>
            <a:ext cx="1519238" cy="4155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0732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1">
    <p:bg>
      <p:bgPr>
        <a:solidFill>
          <a:srgbClr val="3C58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0954" y="1606705"/>
            <a:ext cx="10410092" cy="3691482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5000" b="0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EDC97F-BA86-D24E-8A2F-B8960120E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5830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-2">
    <p:bg>
      <p:bgPr>
        <a:solidFill>
          <a:srgbClr val="3C58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7939" y="2881541"/>
            <a:ext cx="9576122" cy="2387600"/>
          </a:xfrm>
        </p:spPr>
        <p:txBody>
          <a:bodyPr anchor="t">
            <a:noAutofit/>
          </a:bodyPr>
          <a:lstStyle>
            <a:lvl1pPr algn="ctr">
              <a:lnSpc>
                <a:spcPct val="80000"/>
              </a:lnSpc>
              <a:defRPr sz="5000" spc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07939" y="1179604"/>
            <a:ext cx="9576122" cy="1655762"/>
          </a:xfrm>
        </p:spPr>
        <p:txBody>
          <a:bodyPr anchor="b">
            <a:noAutofit/>
          </a:bodyPr>
          <a:lstStyle>
            <a:lvl1pPr marL="0" indent="0" algn="ctr">
              <a:lnSpc>
                <a:spcPct val="110000"/>
              </a:lnSpc>
              <a:buNone/>
              <a:defRPr sz="1500" kern="800" spc="6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9A9E5B-B16D-AF4D-80A3-885DDD40B5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3130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82296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 sz="2400"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72323"/>
            <a:ext cx="10972800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69592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rgbClr val="C50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7" y="1189899"/>
            <a:ext cx="3469025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0" i="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/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073094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Lef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72322"/>
            <a:ext cx="5216245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81598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Righ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34071" y="1572322"/>
            <a:ext cx="5216245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358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A1851B-19A8-724D-ADB2-135B9A94EB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AE4CF18-1721-8C46-8422-7ED131F2A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00EED-1BDC-4543-A5C0-28870C93B6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515" y="1572321"/>
            <a:ext cx="5313637" cy="445836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6051E95-B26B-834D-A433-2F502795B9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6679" y="1572321"/>
            <a:ext cx="5313637" cy="445836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5382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115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A1851B-19A8-724D-ADB2-135B9A94EB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AE4CF18-1721-8C46-8422-7ED131F2A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C29494-ED64-A24F-BE3A-FF8414A1E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515" y="1572322"/>
            <a:ext cx="3516659" cy="445836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265AF3-C38C-444D-8A95-8F9E93A88A0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33657" y="1572322"/>
            <a:ext cx="3516659" cy="445836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600B550-4C5A-3347-BFB7-613C63E6BE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5586" y="1572322"/>
            <a:ext cx="3516659" cy="445836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835953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-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3544252" cy="4351338"/>
          </a:xfrm>
        </p:spPr>
        <p:txBody>
          <a:bodyPr anchor="ctr">
            <a:noAutofit/>
          </a:bodyPr>
          <a:lstStyle>
            <a:lvl1pPr algn="r">
              <a:lnSpc>
                <a:spcPct val="80000"/>
              </a:lnSpc>
              <a:defRPr sz="3200" b="0" i="0">
                <a:solidFill>
                  <a:srgbClr val="C50F3C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36895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700602D-6625-0882-6967-09339F308BAA}"/>
              </a:ext>
            </a:extLst>
          </p:cNvPr>
          <p:cNvSpPr txBox="1">
            <a:spLocks/>
          </p:cNvSpPr>
          <p:nvPr userDrawn="1"/>
        </p:nvSpPr>
        <p:spPr>
          <a:xfrm>
            <a:off x="5054600" y="0"/>
            <a:ext cx="2082800" cy="1657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0">
                <a:solidFill>
                  <a:schemeClr val="tx1">
                    <a:lumMod val="50000"/>
                  </a:schemeClr>
                </a:solidFill>
                <a:latin typeface="Trebuchet MS" panose="020B060302020202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449468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000"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5506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0" i="0">
                <a:solidFill>
                  <a:srgbClr val="C50F3C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635616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FB81BD4-01FD-E605-CAC5-E408A3070A45}"/>
              </a:ext>
            </a:extLst>
          </p:cNvPr>
          <p:cNvSpPr txBox="1">
            <a:spLocks/>
          </p:cNvSpPr>
          <p:nvPr userDrawn="1"/>
        </p:nvSpPr>
        <p:spPr>
          <a:xfrm>
            <a:off x="5054600" y="0"/>
            <a:ext cx="2082800" cy="1657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0">
                <a:solidFill>
                  <a:schemeClr val="tx1">
                    <a:lumMod val="50000"/>
                  </a:schemeClr>
                </a:solidFill>
                <a:latin typeface="Trebuchet MS" panose="020B060302020202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414299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30853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0" i="0">
                <a:solidFill>
                  <a:srgbClr val="C50F3C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F72B629-68FC-A84E-DF98-E86E2F5DB7B7}"/>
              </a:ext>
            </a:extLst>
          </p:cNvPr>
          <p:cNvSpPr txBox="1">
            <a:spLocks/>
          </p:cNvSpPr>
          <p:nvPr userDrawn="1"/>
        </p:nvSpPr>
        <p:spPr>
          <a:xfrm>
            <a:off x="5054600" y="0"/>
            <a:ext cx="2082800" cy="1657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0">
                <a:solidFill>
                  <a:schemeClr val="tx1">
                    <a:lumMod val="50000"/>
                  </a:schemeClr>
                </a:solidFill>
                <a:latin typeface="Trebuchet MS" panose="020B060302020202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454547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11949" y="0"/>
            <a:ext cx="738004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30853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410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ctr">
              <a:lnSpc>
                <a:spcPct val="80000"/>
              </a:lnSpc>
              <a:defRPr sz="3200" b="0" i="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C2C98AF-57F4-68CD-62CB-D9E79386DC0A}"/>
              </a:ext>
            </a:extLst>
          </p:cNvPr>
          <p:cNvSpPr txBox="1">
            <a:spLocks/>
          </p:cNvSpPr>
          <p:nvPr userDrawn="1"/>
        </p:nvSpPr>
        <p:spPr>
          <a:xfrm>
            <a:off x="5054600" y="0"/>
            <a:ext cx="2082800" cy="1657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0">
                <a:solidFill>
                  <a:schemeClr val="tx1">
                    <a:lumMod val="50000"/>
                  </a:schemeClr>
                </a:solidFill>
                <a:latin typeface="Trebuchet MS" panose="020B060302020202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541597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000" spc="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0974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-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9090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15524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rgbClr val="3C58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8813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794659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722139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e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82601" y="1280160"/>
            <a:ext cx="10896599" cy="4747490"/>
          </a:xfrm>
          <a:prstGeom prst="rect">
            <a:avLst/>
          </a:prstGeom>
        </p:spPr>
        <p:txBody>
          <a:bodyPr>
            <a:normAutofit/>
          </a:bodyPr>
          <a:lstStyle>
            <a:lvl1pPr marL="231775" indent="-231775">
              <a:buClr>
                <a:srgbClr val="DEBB1C"/>
              </a:buClr>
              <a:buFont typeface="Arial" panose="020B0604020202020204" pitchFamily="34" charset="0"/>
              <a:buChar char="•"/>
              <a:defRPr sz="20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cs typeface="Verdana"/>
              </a:defRPr>
            </a:lvl1pPr>
            <a:lvl2pPr>
              <a:buClr>
                <a:srgbClr val="DEBB1C"/>
              </a:buClr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cs typeface="Verdana"/>
              </a:defRPr>
            </a:lvl2pPr>
            <a:lvl3pPr>
              <a:buClr>
                <a:srgbClr val="DEBB1C"/>
              </a:buClr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cs typeface="Verdana"/>
              </a:defRPr>
            </a:lvl3pPr>
            <a:lvl4pPr>
              <a:buClr>
                <a:srgbClr val="DEBB1C"/>
              </a:buClr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cs typeface="Verdana"/>
              </a:defRPr>
            </a:lvl4pPr>
            <a:lvl5pPr>
              <a:buClr>
                <a:srgbClr val="DEBB1C"/>
              </a:buClr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cs typeface="Verdan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609600" y="6356352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615D3B-0268-4BBA-B7A0-735E10C483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52711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BEAA09E-D67E-864E-8466-C38E88600C4F}" type="slidenum">
              <a:rPr lang="en-US" smtClean="0"/>
              <a:pPr marL="0" indent="0">
                <a:spcBef>
                  <a:spcPct val="0"/>
                </a:spcBef>
                <a:buNone/>
              </a:pPr>
              <a:t>‹#›</a:t>
            </a:fld>
            <a:endParaRPr lang="en-US"/>
          </a:p>
        </p:txBody>
      </p:sp>
      <p:sp>
        <p:nvSpPr>
          <p:cNvPr id="3" name="btfpLayoutConfig" hidden="1"/>
          <p:cNvSpPr txBox="1"/>
          <p:nvPr userDrawn="1">
            <p:custDataLst>
              <p:tags r:id="rId6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94817846766917 columns_1_132294817846766917 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096AA13-022D-F539-5C1E-594861702378}"/>
              </a:ext>
            </a:extLst>
          </p:cNvPr>
          <p:cNvSpPr txBox="1">
            <a:spLocks/>
          </p:cNvSpPr>
          <p:nvPr userDrawn="1"/>
        </p:nvSpPr>
        <p:spPr>
          <a:xfrm>
            <a:off x="5054600" y="0"/>
            <a:ext cx="2082800" cy="1657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0">
                <a:solidFill>
                  <a:schemeClr val="tx1">
                    <a:lumMod val="50000"/>
                  </a:schemeClr>
                </a:solidFill>
                <a:latin typeface="Trebuchet MS" panose="020B060302020202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97397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CCCCCC"/>
          </p15:clr>
        </p15:guide>
        <p15:guide id="2" pos="7264">
          <p15:clr>
            <a:srgbClr val="CCCCCC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357188" y="1189899"/>
            <a:ext cx="3544252" cy="4351338"/>
          </a:xfrm>
        </p:spPr>
        <p:txBody>
          <a:bodyPr anchor="ctr">
            <a:noAutofit/>
          </a:bodyPr>
          <a:lstStyle>
            <a:lvl1pPr algn="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 flipH="1"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defRPr sz="1600"/>
            </a:lvl3pPr>
            <a:lvl4pPr marL="693738" indent="-169863">
              <a:lnSpc>
                <a:spcPct val="110000"/>
              </a:lnSpc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ct val="0"/>
              </a:spcBef>
              <a:buNone/>
            </a:pPr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711200" rtl="0" eaLnBrk="1" latinLnBrk="0" hangingPunct="1">
              <a:spcBef>
                <a:spcPts val="1200"/>
              </a:spcBef>
              <a:buNone/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4BEAA09E-D67E-864E-8466-C38E88600C4F}" type="slidenum">
              <a:rPr lang="en-US" smtClean="0"/>
              <a:pPr>
                <a:spcBef>
                  <a:spcPct val="0"/>
                </a:spcBef>
              </a:pPr>
              <a:t>‹#›</a:t>
            </a:fld>
            <a:endParaRPr lang="en-US"/>
          </a:p>
        </p:txBody>
      </p:sp>
      <p:sp>
        <p:nvSpPr>
          <p:cNvPr id="2" name="btfpLayoutConfig" hidden="1"/>
          <p:cNvSpPr txBox="1"/>
          <p:nvPr userDrawn="1">
            <p:custDataLst>
              <p:tags r:id="rId8"/>
            </p:custDataLst>
          </p:nvPr>
        </p:nvSpPr>
        <p:spPr bwMode="gray">
          <a:xfrm>
            <a:off x="12700" y="12700"/>
            <a:ext cx="430173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95506826169584 columns_1_132295506826169584 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8355CB4-77B1-DDEA-6C47-213884B48DB1}"/>
              </a:ext>
            </a:extLst>
          </p:cNvPr>
          <p:cNvSpPr txBox="1">
            <a:spLocks/>
          </p:cNvSpPr>
          <p:nvPr userDrawn="1"/>
        </p:nvSpPr>
        <p:spPr>
          <a:xfrm>
            <a:off x="5054600" y="0"/>
            <a:ext cx="2082800" cy="1657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0">
                <a:solidFill>
                  <a:schemeClr val="tx1">
                    <a:lumMod val="50000"/>
                  </a:schemeClr>
                </a:solidFill>
                <a:latin typeface="Trebuchet MS" panose="020B060302020202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47270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CCCCCC"/>
          </p15:clr>
        </p15:guide>
        <p15:guide id="2" pos="7264">
          <p15:clr>
            <a:srgbClr val="CCCCCC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8EA50B9-1395-63B5-7928-520E09B4C69D}"/>
              </a:ext>
            </a:extLst>
          </p:cNvPr>
          <p:cNvSpPr txBox="1">
            <a:spLocks/>
          </p:cNvSpPr>
          <p:nvPr userDrawn="1"/>
        </p:nvSpPr>
        <p:spPr>
          <a:xfrm>
            <a:off x="5054600" y="0"/>
            <a:ext cx="2082800" cy="1657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0">
                <a:solidFill>
                  <a:schemeClr val="tx1">
                    <a:lumMod val="50000"/>
                  </a:schemeClr>
                </a:solidFill>
                <a:latin typeface="Trebuchet MS" panose="020B060302020202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8915569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21755"/>
            <a:ext cx="10972800" cy="505732"/>
          </a:xfrm>
        </p:spPr>
        <p:txBody>
          <a:bodyPr vert="horz" lIns="0" tIns="0" rIns="0" bIns="0" rtlCol="0" anchor="b">
            <a:noAutofit/>
          </a:bodyPr>
          <a:lstStyle>
            <a:lvl1pPr algn="l">
              <a:defRPr kumimoji="0" lang="en-US" sz="2700" u="none" strike="noStrike" cap="none" normalizeH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marL="0" lvl="0" algn="l" defTabSz="914377">
              <a:lnSpc>
                <a:spcPct val="80000"/>
              </a:lnSpc>
            </a:pPr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540B66F-BF82-E9A2-91E7-6AEC54427A95}"/>
              </a:ext>
            </a:extLst>
          </p:cNvPr>
          <p:cNvSpPr txBox="1">
            <a:spLocks/>
          </p:cNvSpPr>
          <p:nvPr userDrawn="1"/>
        </p:nvSpPr>
        <p:spPr>
          <a:xfrm>
            <a:off x="5054600" y="0"/>
            <a:ext cx="2082800" cy="1657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0">
                <a:solidFill>
                  <a:schemeClr val="tx1">
                    <a:lumMod val="50000"/>
                  </a:schemeClr>
                </a:solidFill>
                <a:latin typeface="Trebuchet MS" panose="020B060302020202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2307521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75570" y="6492875"/>
            <a:ext cx="6682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C43CB4D-4DC3-CAD8-F3C3-6D384B568E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5537" y="1473428"/>
            <a:ext cx="10972800" cy="4256495"/>
          </a:xfrm>
        </p:spPr>
        <p:txBody>
          <a:bodyPr/>
          <a:lstStyle>
            <a:lvl3pPr>
              <a:defRPr sz="1050"/>
            </a:lvl3pPr>
            <a:lvl4pPr>
              <a:defRPr sz="1050" b="0" i="0">
                <a:latin typeface="Trebuchet MS" panose="020B0703020202090204" pitchFamily="34" charset="0"/>
              </a:defRPr>
            </a:lvl4pPr>
            <a:lvl5pPr>
              <a:defRPr sz="1050" b="0" i="0">
                <a:latin typeface="Trebuchet MS" panose="020B070302020209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9831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377787"/>
            <a:ext cx="11235267" cy="4351339"/>
          </a:xfrm>
        </p:spPr>
        <p:txBody>
          <a:bodyPr/>
          <a:lstStyle>
            <a:lvl2pPr marL="615935" indent="-309026">
              <a:tabLst/>
              <a:defRPr/>
            </a:lvl2pPr>
            <a:lvl3pPr marL="912261" indent="-296326">
              <a:tabLst/>
              <a:defRPr/>
            </a:lvl3pPr>
            <a:lvl4pPr marL="1219170" indent="-306910">
              <a:tabLst/>
              <a:defRPr/>
            </a:lvl4pPr>
            <a:lvl5pPr marL="1526079" indent="-30691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7C6368F-27E2-4932-B151-D02A62EA5A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DE7334-C607-4E00-BC45-678125540B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A50CA2-49FD-4B5F-B5DB-BD26396CE7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695" y="6356351"/>
            <a:ext cx="9854436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304792" indent="-304792" algn="l">
              <a:buFont typeface="+mj-lt"/>
              <a:buAutoNum type="arabicPeriod"/>
              <a:defRPr sz="106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51783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C10B9-78D3-4410-84EF-980F45D0EF5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12801" y="237981"/>
            <a:ext cx="10565727" cy="78739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92F1A8-4B1B-4CCA-99F7-0D44BE2B8F9F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812801" y="1277819"/>
            <a:ext cx="10565727" cy="4736125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E49F739-DC76-4454-BE77-9E565599C46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9313328" y="6177640"/>
            <a:ext cx="2844798" cy="365129"/>
          </a:xfrm>
        </p:spPr>
        <p:txBody>
          <a:bodyPr/>
          <a:lstStyle>
            <a:lvl1pPr>
              <a:defRPr/>
            </a:lvl1pPr>
          </a:lstStyle>
          <a:p>
            <a:pPr lvl="0"/>
            <a:fld id="{486BAF06-2727-407F-9933-EF50A7078CFB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274843"/>
      </p:ext>
    </p:extLst>
  </p:cSld>
  <p:clrMapOvr>
    <a:masterClrMapping/>
  </p:clrMapOvr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8293"/>
            <a:ext cx="10972800" cy="911640"/>
          </a:xfrm>
        </p:spPr>
        <p:txBody>
          <a:bodyPr anchor="ctr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06903" indent="-306903">
              <a:spcBef>
                <a:spcPts val="600"/>
              </a:spcBef>
              <a:tabLst/>
              <a:defRPr sz="2400"/>
            </a:lvl1pPr>
            <a:lvl2pPr marL="761962" indent="-300551">
              <a:spcBef>
                <a:spcPts val="600"/>
              </a:spcBef>
              <a:tabLst/>
              <a:defRPr sz="2133"/>
            </a:lvl2pPr>
            <a:lvl3pPr marL="1371532" indent="-300551">
              <a:spcBef>
                <a:spcPts val="600"/>
              </a:spcBef>
              <a:tabLst/>
              <a:defRPr sz="1867"/>
            </a:lvl3pPr>
            <a:lvl4pPr marL="1832942" indent="-306903">
              <a:spcBef>
                <a:spcPts val="600"/>
              </a:spcBef>
              <a:tabLst/>
              <a:defRPr sz="1600">
                <a:latin typeface="Arial" panose="020B0604020202020204" pitchFamily="34" charset="0"/>
              </a:defRPr>
            </a:lvl4pPr>
            <a:lvl5pPr marL="2288003" indent="-306903">
              <a:spcBef>
                <a:spcPts val="600"/>
              </a:spcBef>
              <a:tabLst/>
              <a:defRPr sz="16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5938004"/>
            <a:ext cx="10972800" cy="523875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FontTx/>
              <a:buNone/>
              <a:defRPr sz="1400">
                <a:solidFill>
                  <a:srgbClr val="898989"/>
                </a:solidFill>
                <a:latin typeface="+mn-lt"/>
              </a:defRPr>
            </a:lvl2pPr>
            <a:lvl3pPr marL="1219140" indent="0">
              <a:buFontTx/>
              <a:buNone/>
              <a:defRPr sz="1400">
                <a:solidFill>
                  <a:srgbClr val="898989"/>
                </a:solidFill>
                <a:latin typeface="+mn-lt"/>
              </a:defRPr>
            </a:lvl3pPr>
            <a:lvl4pPr marL="1828709" indent="0">
              <a:buFontTx/>
              <a:buNone/>
              <a:defRPr sz="1400">
                <a:solidFill>
                  <a:srgbClr val="898989"/>
                </a:solidFill>
                <a:latin typeface="+mn-lt"/>
              </a:defRPr>
            </a:lvl4pPr>
            <a:lvl5pPr marL="2438278" indent="0">
              <a:buFontTx/>
              <a:buNone/>
              <a:defRPr sz="1400">
                <a:solidFill>
                  <a:srgbClr val="898989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9E8C37-FDBB-4ED6-8702-62EC6B6D32CD}"/>
              </a:ext>
            </a:extLst>
          </p:cNvPr>
          <p:cNvCxnSpPr/>
          <p:nvPr userDrawn="1"/>
        </p:nvCxnSpPr>
        <p:spPr>
          <a:xfrm>
            <a:off x="609600" y="6477000"/>
            <a:ext cx="1097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52E34DE-26C1-49EA-BBA8-BD4D097B72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453036" y="6492876"/>
            <a:ext cx="11293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defTabSz="1219170">
              <a:defRPr/>
            </a:pPr>
            <a:r>
              <a:rPr lang="en-US"/>
              <a:t>Confidentia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8C7E5FB-0A8E-4E3D-9F7E-A42504E8F8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92876"/>
            <a:ext cx="8919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898989"/>
                </a:solidFill>
              </a:defRPr>
            </a:lvl1pPr>
          </a:lstStyle>
          <a:p>
            <a:pPr defTabSz="1219170">
              <a:defRPr/>
            </a:pPr>
            <a:r>
              <a:rPr lang="en-US"/>
              <a:t>Slide </a:t>
            </a:r>
            <a:fld id="{44CAC06D-E468-43AA-8697-C0ABA70C95D3}" type="slidenum">
              <a:rPr lang="en-US" smtClean="0"/>
              <a:pPr defTabSz="1219170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926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4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 userDrawn="1"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3B910A0-9ECC-C94E-BB66-196FAFB9B1CC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83656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0347648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4501"/>
            <a:ext cx="10972800" cy="783699"/>
          </a:xfrm>
        </p:spPr>
        <p:txBody>
          <a:bodyPr/>
          <a:lstStyle>
            <a:lvl1pPr>
              <a:lnSpc>
                <a:spcPct val="9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306910" indent="-306910">
              <a:tabLst/>
              <a:defRPr sz="2400"/>
            </a:lvl1pPr>
            <a:lvl2pPr marL="761981" indent="-300559">
              <a:tabLst/>
              <a:defRPr sz="2000"/>
            </a:lvl2pPr>
            <a:lvl3pPr marL="1371566" indent="-300559">
              <a:tabLst/>
              <a:defRPr sz="1800"/>
            </a:lvl3pPr>
            <a:lvl4pPr marL="1832988" indent="-306910">
              <a:tabLst/>
              <a:defRPr sz="1400"/>
            </a:lvl4pPr>
            <a:lvl5pPr marL="2288060" indent="-306910">
              <a:tabLst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111875"/>
            <a:ext cx="10972800" cy="381000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609585" indent="0">
              <a:buFontTx/>
              <a:buNone/>
              <a:defRPr sz="1400">
                <a:solidFill>
                  <a:srgbClr val="898989"/>
                </a:solidFill>
                <a:latin typeface="+mn-lt"/>
              </a:defRPr>
            </a:lvl2pPr>
            <a:lvl3pPr marL="1219170" indent="0">
              <a:buFontTx/>
              <a:buNone/>
              <a:defRPr sz="1400">
                <a:solidFill>
                  <a:srgbClr val="898989"/>
                </a:solidFill>
                <a:latin typeface="+mn-lt"/>
              </a:defRPr>
            </a:lvl3pPr>
            <a:lvl4pPr marL="1828754" indent="0">
              <a:buFontTx/>
              <a:buNone/>
              <a:defRPr sz="1400">
                <a:solidFill>
                  <a:srgbClr val="898989"/>
                </a:solidFill>
                <a:latin typeface="+mn-lt"/>
              </a:defRPr>
            </a:lvl4pPr>
            <a:lvl5pPr marL="2438339" indent="0">
              <a:buFontTx/>
              <a:buNone/>
              <a:defRPr sz="1400">
                <a:solidFill>
                  <a:srgbClr val="898989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453688" y="6492875"/>
            <a:ext cx="1128712" cy="365125"/>
          </a:xfrm>
        </p:spPr>
        <p:txBody>
          <a:bodyPr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Confidentia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5"/>
            <a:ext cx="892175" cy="365125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r>
              <a:rPr lang="en-US" altLang="en-US"/>
              <a:t>Slide </a:t>
            </a:r>
            <a:fld id="{E0B966B1-3427-4EE2-AED2-B80BC98DBE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949270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935567"/>
            <a:ext cx="12192000" cy="628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626533" y="36173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921" y="2223606"/>
            <a:ext cx="10848879" cy="13903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733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48D88AF-682E-4B51-B288-0A04CAE0987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380068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3184" y="1381125"/>
            <a:ext cx="5526616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81125"/>
            <a:ext cx="5556251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CDA74-441D-4E33-A0D4-C4F6A79C684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81984" y="6356351"/>
            <a:ext cx="471349" cy="366183"/>
          </a:xfrm>
          <a:prstGeom prst="rect">
            <a:avLst/>
          </a:prstGeom>
        </p:spPr>
        <p:txBody>
          <a:bodyPr vert="horz" wrap="square" lIns="91464" tIns="45732" rIns="91464" bIns="45732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defTabSz="685800" rtl="0" eaLnBrk="1" fontAlgn="base" hangingPunct="1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indent="1143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85800" indent="2286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28700" indent="3429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71600" indent="457200" algn="l" defTabSz="685800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756DC54C-9938-4130-9520-D071717EBB89}" type="slidenum">
              <a:rPr lang="en-US" altLang="en-US" sz="800" smtClean="0"/>
              <a:pPr>
                <a:defRPr/>
              </a:pPr>
              <a:t>‹#›</a:t>
            </a:fld>
            <a:endParaRPr lang="en-US" altLang="en-US" sz="800"/>
          </a:p>
        </p:txBody>
      </p:sp>
    </p:spTree>
    <p:extLst>
      <p:ext uri="{BB962C8B-B14F-4D97-AF65-F5344CB8AC3E}">
        <p14:creationId xmlns:p14="http://schemas.microsoft.com/office/powerpoint/2010/main" val="3258397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0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36" Type="http://schemas.openxmlformats.org/officeDocument/2006/relationships/image" Target="../media/image9.emf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Alternate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2677"/>
            <a:ext cx="10924674" cy="4234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15875" lvl="1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287338" lvl="2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693738" lvl="3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345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39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40" r:id="rId15"/>
    <p:sldLayoutId id="2147483829" r:id="rId16"/>
    <p:sldLayoutId id="2147483830" r:id="rId17"/>
    <p:sldLayoutId id="2147483832" r:id="rId18"/>
    <p:sldLayoutId id="2147483833" r:id="rId19"/>
    <p:sldLayoutId id="2147483834" r:id="rId20"/>
    <p:sldLayoutId id="2147483835" r:id="rId21"/>
    <p:sldLayoutId id="2147483842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1" kern="1600" spc="-50" baseline="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4032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 noChangeAspect="1"/>
          </p:cNvGrpSpPr>
          <p:nvPr userDrawn="1"/>
        </p:nvGrpSpPr>
        <p:grpSpPr bwMode="auto">
          <a:xfrm>
            <a:off x="433917" y="6335185"/>
            <a:ext cx="237067" cy="317500"/>
            <a:chOff x="2132467" y="6042025"/>
            <a:chExt cx="241300" cy="320675"/>
          </a:xfrm>
        </p:grpSpPr>
        <p:sp>
          <p:nvSpPr>
            <p:cNvPr id="15" name="Freeform 75"/>
            <p:cNvSpPr>
              <a:spLocks/>
            </p:cNvSpPr>
            <p:nvPr userDrawn="1"/>
          </p:nvSpPr>
          <p:spPr bwMode="auto">
            <a:xfrm>
              <a:off x="2147548" y="6042025"/>
              <a:ext cx="226219" cy="252264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20" y="63"/>
                </a:cxn>
                <a:cxn ang="0">
                  <a:pos x="20" y="79"/>
                </a:cxn>
                <a:cxn ang="0">
                  <a:pos x="23" y="65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</a:cxnLst>
              <a:rect l="0" t="0" r="r" b="b"/>
              <a:pathLst>
                <a:path w="71" h="79">
                  <a:moveTo>
                    <a:pt x="71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" y="6"/>
                    <a:pt x="0" y="49"/>
                    <a:pt x="20" y="63"/>
                  </a:cubicBezTo>
                  <a:cubicBezTo>
                    <a:pt x="17" y="79"/>
                    <a:pt x="20" y="79"/>
                    <a:pt x="20" y="79"/>
                  </a:cubicBezTo>
                  <a:cubicBezTo>
                    <a:pt x="21" y="74"/>
                    <a:pt x="21" y="69"/>
                    <a:pt x="23" y="65"/>
                  </a:cubicBezTo>
                  <a:cubicBezTo>
                    <a:pt x="31" y="34"/>
                    <a:pt x="51" y="7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lose/>
                </a:path>
              </a:pathLst>
            </a:custGeom>
            <a:solidFill>
              <a:srgbClr val="D7364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621" eaLnBrk="1" fontAlgn="auto" hangingPunct="1">
                <a:spcBef>
                  <a:spcPts val="0"/>
                </a:spcBef>
                <a:spcAft>
                  <a:spcPct val="25000"/>
                </a:spcAft>
                <a:buFontTx/>
                <a:buChar char="•"/>
                <a:defRPr/>
              </a:pPr>
              <a:endParaRPr lang="en-US" sz="3200">
                <a:solidFill>
                  <a:srgbClr val="D11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ＭＳ Ｐゴシック" pitchFamily="34" charset="-128"/>
              </a:endParaRPr>
            </a:p>
          </p:txBody>
        </p:sp>
        <p:sp>
          <p:nvSpPr>
            <p:cNvPr id="16" name="Freeform 76"/>
            <p:cNvSpPr>
              <a:spLocks/>
            </p:cNvSpPr>
            <p:nvPr userDrawn="1"/>
          </p:nvSpPr>
          <p:spPr bwMode="auto">
            <a:xfrm>
              <a:off x="2132467" y="6071955"/>
              <a:ext cx="230527" cy="290745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72" y="0"/>
                </a:cxn>
                <a:cxn ang="0">
                  <a:pos x="72" y="0"/>
                </a:cxn>
                <a:cxn ang="0">
                  <a:pos x="61" y="36"/>
                </a:cxn>
                <a:cxn ang="0">
                  <a:pos x="36" y="57"/>
                </a:cxn>
                <a:cxn ang="0">
                  <a:pos x="36" y="88"/>
                </a:cxn>
                <a:cxn ang="0">
                  <a:pos x="3" y="49"/>
                </a:cxn>
                <a:cxn ang="0">
                  <a:pos x="3" y="3"/>
                </a:cxn>
                <a:cxn ang="0">
                  <a:pos x="30" y="1"/>
                </a:cxn>
                <a:cxn ang="0">
                  <a:pos x="30" y="1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9"/>
                </a:cxn>
                <a:cxn ang="0">
                  <a:pos x="36" y="91"/>
                </a:cxn>
                <a:cxn ang="0">
                  <a:pos x="73" y="49"/>
                </a:cxn>
                <a:cxn ang="0">
                  <a:pos x="73" y="0"/>
                </a:cxn>
              </a:cxnLst>
              <a:rect l="0" t="0" r="r" b="b"/>
              <a:pathLst>
                <a:path w="73" h="91">
                  <a:moveTo>
                    <a:pt x="73" y="0"/>
                  </a:moveTo>
                  <a:cubicBezTo>
                    <a:pt x="73" y="0"/>
                    <a:pt x="72" y="0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7" y="10"/>
                    <a:pt x="65" y="25"/>
                    <a:pt x="61" y="36"/>
                  </a:cubicBezTo>
                  <a:cubicBezTo>
                    <a:pt x="57" y="49"/>
                    <a:pt x="49" y="58"/>
                    <a:pt x="36" y="57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36" y="88"/>
                    <a:pt x="3" y="73"/>
                    <a:pt x="3" y="4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76"/>
                    <a:pt x="36" y="91"/>
                    <a:pt x="36" y="91"/>
                  </a:cubicBezTo>
                  <a:cubicBezTo>
                    <a:pt x="36" y="91"/>
                    <a:pt x="73" y="76"/>
                    <a:pt x="73" y="49"/>
                  </a:cubicBezTo>
                  <a:cubicBezTo>
                    <a:pt x="73" y="0"/>
                    <a:pt x="73" y="0"/>
                    <a:pt x="73" y="0"/>
                  </a:cubicBezTo>
                  <a:close/>
                </a:path>
              </a:pathLst>
            </a:custGeom>
            <a:solidFill>
              <a:srgbClr val="D7364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621" eaLnBrk="1" fontAlgn="auto" hangingPunct="1">
                <a:spcBef>
                  <a:spcPts val="0"/>
                </a:spcBef>
                <a:spcAft>
                  <a:spcPct val="25000"/>
                </a:spcAft>
                <a:buFontTx/>
                <a:buChar char="•"/>
                <a:defRPr/>
              </a:pPr>
              <a:endParaRPr lang="en-US" sz="3200">
                <a:solidFill>
                  <a:srgbClr val="D11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ＭＳ Ｐゴシック" pitchFamily="34" charset="-128"/>
              </a:endParaRPr>
            </a:p>
          </p:txBody>
        </p:sp>
      </p:grpSp>
      <p:sp>
        <p:nvSpPr>
          <p:cNvPr id="1027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3184" y="1341967"/>
            <a:ext cx="11235267" cy="4349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1984" y="6356351"/>
            <a:ext cx="471349" cy="366183"/>
          </a:xfrm>
          <a:prstGeom prst="rect">
            <a:avLst/>
          </a:prstGeom>
        </p:spPr>
        <p:txBody>
          <a:bodyPr vert="horz" wrap="square" lIns="68598" tIns="34299" rIns="68598" bIns="3429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/>
            </a:lvl1pPr>
          </a:lstStyle>
          <a:p>
            <a:pPr>
              <a:defRPr/>
            </a:pPr>
            <a:fld id="{756DC54C-9938-4130-9520-D071717EBB89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8084"/>
            <a:ext cx="11235267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cxnSp>
        <p:nvCxnSpPr>
          <p:cNvPr id="1030" name="Straight Connector 9"/>
          <p:cNvCxnSpPr>
            <a:cxnSpLocks noChangeShapeType="1"/>
          </p:cNvCxnSpPr>
          <p:nvPr userDrawn="1"/>
        </p:nvCxnSpPr>
        <p:spPr bwMode="auto">
          <a:xfrm>
            <a:off x="626533" y="11916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extBox 1"/>
          <p:cNvSpPr txBox="1"/>
          <p:nvPr userDrawn="1"/>
        </p:nvSpPr>
        <p:spPr>
          <a:xfrm>
            <a:off x="684755" y="6482000"/>
            <a:ext cx="829073" cy="1949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7" b="1" cap="all" baseline="0">
                <a:solidFill>
                  <a:schemeClr val="tx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63294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</p:sldLayoutIdLst>
  <p:hf hdr="0" dt="0"/>
  <p:txStyles>
    <p:titleStyle>
      <a:lvl1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kern="1200">
          <a:solidFill>
            <a:schemeClr val="tx2"/>
          </a:solidFill>
          <a:latin typeface="Arial" charset="0"/>
          <a:ea typeface="Arial" charset="0"/>
          <a:cs typeface="Arial" charset="0"/>
        </a:defRPr>
      </a:lvl1pPr>
      <a:lvl2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06910" indent="-306910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15935" indent="-309026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–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912261" indent="-296326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Wingdings" pitchFamily="2" charset="2"/>
        <a:buChar char="§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19170" indent="-306910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•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26079" indent="-306910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•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2941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969842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426740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883638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1pPr>
      <a:lvl2pPr marL="456897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2pPr>
      <a:lvl3pPr marL="913798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695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594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494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391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289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187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 noChangeAspect="1"/>
          </p:cNvGrpSpPr>
          <p:nvPr userDrawn="1"/>
        </p:nvGrpSpPr>
        <p:grpSpPr bwMode="auto">
          <a:xfrm>
            <a:off x="433917" y="6335185"/>
            <a:ext cx="237067" cy="317500"/>
            <a:chOff x="2132467" y="6042025"/>
            <a:chExt cx="241300" cy="320675"/>
          </a:xfrm>
        </p:grpSpPr>
        <p:sp>
          <p:nvSpPr>
            <p:cNvPr id="15" name="Freeform 75"/>
            <p:cNvSpPr>
              <a:spLocks/>
            </p:cNvSpPr>
            <p:nvPr userDrawn="1"/>
          </p:nvSpPr>
          <p:spPr bwMode="auto">
            <a:xfrm>
              <a:off x="2147548" y="6042025"/>
              <a:ext cx="226219" cy="252264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20" y="63"/>
                </a:cxn>
                <a:cxn ang="0">
                  <a:pos x="20" y="79"/>
                </a:cxn>
                <a:cxn ang="0">
                  <a:pos x="23" y="65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</a:cxnLst>
              <a:rect l="0" t="0" r="r" b="b"/>
              <a:pathLst>
                <a:path w="71" h="79">
                  <a:moveTo>
                    <a:pt x="71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" y="6"/>
                    <a:pt x="0" y="49"/>
                    <a:pt x="20" y="63"/>
                  </a:cubicBezTo>
                  <a:cubicBezTo>
                    <a:pt x="17" y="79"/>
                    <a:pt x="20" y="79"/>
                    <a:pt x="20" y="79"/>
                  </a:cubicBezTo>
                  <a:cubicBezTo>
                    <a:pt x="21" y="74"/>
                    <a:pt x="21" y="69"/>
                    <a:pt x="23" y="65"/>
                  </a:cubicBezTo>
                  <a:cubicBezTo>
                    <a:pt x="31" y="34"/>
                    <a:pt x="51" y="7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lose/>
                </a:path>
              </a:pathLst>
            </a:custGeom>
            <a:solidFill>
              <a:srgbClr val="D7364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621" eaLnBrk="1" fontAlgn="auto" hangingPunct="1">
                <a:spcBef>
                  <a:spcPts val="0"/>
                </a:spcBef>
                <a:spcAft>
                  <a:spcPct val="25000"/>
                </a:spcAft>
                <a:buFontTx/>
                <a:buChar char="•"/>
                <a:defRPr/>
              </a:pPr>
              <a:endParaRPr lang="en-US" sz="3200">
                <a:solidFill>
                  <a:srgbClr val="D11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ＭＳ Ｐゴシック" pitchFamily="34" charset="-128"/>
              </a:endParaRPr>
            </a:p>
          </p:txBody>
        </p:sp>
        <p:sp>
          <p:nvSpPr>
            <p:cNvPr id="16" name="Freeform 76"/>
            <p:cNvSpPr>
              <a:spLocks/>
            </p:cNvSpPr>
            <p:nvPr userDrawn="1"/>
          </p:nvSpPr>
          <p:spPr bwMode="auto">
            <a:xfrm>
              <a:off x="2132467" y="6071955"/>
              <a:ext cx="230527" cy="290745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72" y="0"/>
                </a:cxn>
                <a:cxn ang="0">
                  <a:pos x="72" y="0"/>
                </a:cxn>
                <a:cxn ang="0">
                  <a:pos x="61" y="36"/>
                </a:cxn>
                <a:cxn ang="0">
                  <a:pos x="36" y="57"/>
                </a:cxn>
                <a:cxn ang="0">
                  <a:pos x="36" y="88"/>
                </a:cxn>
                <a:cxn ang="0">
                  <a:pos x="3" y="49"/>
                </a:cxn>
                <a:cxn ang="0">
                  <a:pos x="3" y="3"/>
                </a:cxn>
                <a:cxn ang="0">
                  <a:pos x="30" y="1"/>
                </a:cxn>
                <a:cxn ang="0">
                  <a:pos x="30" y="1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9"/>
                </a:cxn>
                <a:cxn ang="0">
                  <a:pos x="36" y="91"/>
                </a:cxn>
                <a:cxn ang="0">
                  <a:pos x="73" y="49"/>
                </a:cxn>
                <a:cxn ang="0">
                  <a:pos x="73" y="0"/>
                </a:cxn>
              </a:cxnLst>
              <a:rect l="0" t="0" r="r" b="b"/>
              <a:pathLst>
                <a:path w="73" h="91">
                  <a:moveTo>
                    <a:pt x="73" y="0"/>
                  </a:moveTo>
                  <a:cubicBezTo>
                    <a:pt x="73" y="0"/>
                    <a:pt x="72" y="0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7" y="10"/>
                    <a:pt x="65" y="25"/>
                    <a:pt x="61" y="36"/>
                  </a:cubicBezTo>
                  <a:cubicBezTo>
                    <a:pt x="57" y="49"/>
                    <a:pt x="49" y="58"/>
                    <a:pt x="36" y="57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36" y="88"/>
                    <a:pt x="3" y="73"/>
                    <a:pt x="3" y="4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76"/>
                    <a:pt x="36" y="91"/>
                    <a:pt x="36" y="91"/>
                  </a:cubicBezTo>
                  <a:cubicBezTo>
                    <a:pt x="36" y="91"/>
                    <a:pt x="73" y="76"/>
                    <a:pt x="73" y="49"/>
                  </a:cubicBezTo>
                  <a:cubicBezTo>
                    <a:pt x="73" y="0"/>
                    <a:pt x="73" y="0"/>
                    <a:pt x="73" y="0"/>
                  </a:cubicBezTo>
                  <a:close/>
                </a:path>
              </a:pathLst>
            </a:custGeom>
            <a:solidFill>
              <a:srgbClr val="D7364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621" eaLnBrk="1" fontAlgn="auto" hangingPunct="1">
                <a:spcBef>
                  <a:spcPts val="0"/>
                </a:spcBef>
                <a:spcAft>
                  <a:spcPct val="25000"/>
                </a:spcAft>
                <a:buFontTx/>
                <a:buChar char="•"/>
                <a:defRPr/>
              </a:pPr>
              <a:endParaRPr lang="en-US" sz="3200">
                <a:solidFill>
                  <a:srgbClr val="D11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ＭＳ Ｐゴシック" pitchFamily="34" charset="-128"/>
              </a:endParaRPr>
            </a:p>
          </p:txBody>
        </p:sp>
      </p:grpSp>
      <p:sp>
        <p:nvSpPr>
          <p:cNvPr id="1027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3184" y="1341967"/>
            <a:ext cx="11235267" cy="4349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1984" y="6356351"/>
            <a:ext cx="471349" cy="366183"/>
          </a:xfrm>
          <a:prstGeom prst="rect">
            <a:avLst/>
          </a:prstGeom>
        </p:spPr>
        <p:txBody>
          <a:bodyPr vert="horz" wrap="square" lIns="68598" tIns="34299" rIns="68598" bIns="3429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/>
            </a:lvl1pPr>
          </a:lstStyle>
          <a:p>
            <a:pPr>
              <a:defRPr/>
            </a:pPr>
            <a:fld id="{756DC54C-9938-4130-9520-D071717EBB89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8084"/>
            <a:ext cx="11235267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cxnSp>
        <p:nvCxnSpPr>
          <p:cNvPr id="1030" name="Straight Connector 9"/>
          <p:cNvCxnSpPr>
            <a:cxnSpLocks noChangeShapeType="1"/>
          </p:cNvCxnSpPr>
          <p:nvPr userDrawn="1"/>
        </p:nvCxnSpPr>
        <p:spPr bwMode="auto">
          <a:xfrm>
            <a:off x="626533" y="11916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extBox 1"/>
          <p:cNvSpPr txBox="1"/>
          <p:nvPr userDrawn="1"/>
        </p:nvSpPr>
        <p:spPr>
          <a:xfrm>
            <a:off x="684755" y="6429450"/>
            <a:ext cx="14908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cap="all" baseline="0">
                <a:solidFill>
                  <a:schemeClr val="tx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62014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68" r:id="rId13"/>
  </p:sldLayoutIdLst>
  <p:hf hdr="0" dt="0"/>
  <p:txStyles>
    <p:titleStyle>
      <a:lvl1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kern="1200">
          <a:solidFill>
            <a:schemeClr val="tx2"/>
          </a:solidFill>
          <a:latin typeface="Arial" charset="0"/>
          <a:ea typeface="Arial" charset="0"/>
          <a:cs typeface="Arial" charset="0"/>
        </a:defRPr>
      </a:lvl1pPr>
      <a:lvl2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06910" indent="-306910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15935" indent="-309026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–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912261" indent="-296326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Wingdings" pitchFamily="2" charset="2"/>
        <a:buChar char="§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19170" indent="-306910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•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26079" indent="-306910" algn="l" defTabSz="912261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•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2941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969842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426740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883638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1pPr>
      <a:lvl2pPr marL="456897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2pPr>
      <a:lvl3pPr marL="913798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695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594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494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391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289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187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 noChangeAspect="1"/>
          </p:cNvGrpSpPr>
          <p:nvPr userDrawn="1"/>
        </p:nvGrpSpPr>
        <p:grpSpPr bwMode="auto">
          <a:xfrm>
            <a:off x="433917" y="6335185"/>
            <a:ext cx="237067" cy="317500"/>
            <a:chOff x="2132467" y="6042025"/>
            <a:chExt cx="241300" cy="320675"/>
          </a:xfrm>
        </p:grpSpPr>
        <p:sp>
          <p:nvSpPr>
            <p:cNvPr id="15" name="Freeform 75"/>
            <p:cNvSpPr>
              <a:spLocks/>
            </p:cNvSpPr>
            <p:nvPr userDrawn="1"/>
          </p:nvSpPr>
          <p:spPr bwMode="auto">
            <a:xfrm>
              <a:off x="2147548" y="6042025"/>
              <a:ext cx="226219" cy="252264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20" y="63"/>
                </a:cxn>
                <a:cxn ang="0">
                  <a:pos x="20" y="79"/>
                </a:cxn>
                <a:cxn ang="0">
                  <a:pos x="23" y="65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</a:cxnLst>
              <a:rect l="0" t="0" r="r" b="b"/>
              <a:pathLst>
                <a:path w="71" h="79">
                  <a:moveTo>
                    <a:pt x="71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" y="6"/>
                    <a:pt x="0" y="49"/>
                    <a:pt x="20" y="63"/>
                  </a:cubicBezTo>
                  <a:cubicBezTo>
                    <a:pt x="17" y="79"/>
                    <a:pt x="20" y="79"/>
                    <a:pt x="20" y="79"/>
                  </a:cubicBezTo>
                  <a:cubicBezTo>
                    <a:pt x="21" y="74"/>
                    <a:pt x="21" y="69"/>
                    <a:pt x="23" y="65"/>
                  </a:cubicBezTo>
                  <a:cubicBezTo>
                    <a:pt x="31" y="34"/>
                    <a:pt x="51" y="7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lose/>
                </a:path>
              </a:pathLst>
            </a:custGeom>
            <a:solidFill>
              <a:srgbClr val="D7364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621" eaLnBrk="1" fontAlgn="auto" hangingPunct="1">
                <a:spcBef>
                  <a:spcPts val="0"/>
                </a:spcBef>
                <a:spcAft>
                  <a:spcPct val="25000"/>
                </a:spcAft>
                <a:buFontTx/>
                <a:buChar char="•"/>
                <a:defRPr/>
              </a:pPr>
              <a:endParaRPr lang="en-US" sz="3200">
                <a:solidFill>
                  <a:srgbClr val="D11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ＭＳ Ｐゴシック" pitchFamily="34" charset="-128"/>
              </a:endParaRPr>
            </a:p>
          </p:txBody>
        </p:sp>
        <p:sp>
          <p:nvSpPr>
            <p:cNvPr id="16" name="Freeform 76"/>
            <p:cNvSpPr>
              <a:spLocks/>
            </p:cNvSpPr>
            <p:nvPr userDrawn="1"/>
          </p:nvSpPr>
          <p:spPr bwMode="auto">
            <a:xfrm>
              <a:off x="2132467" y="6071955"/>
              <a:ext cx="230527" cy="290745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72" y="0"/>
                </a:cxn>
                <a:cxn ang="0">
                  <a:pos x="72" y="0"/>
                </a:cxn>
                <a:cxn ang="0">
                  <a:pos x="61" y="36"/>
                </a:cxn>
                <a:cxn ang="0">
                  <a:pos x="36" y="57"/>
                </a:cxn>
                <a:cxn ang="0">
                  <a:pos x="36" y="88"/>
                </a:cxn>
                <a:cxn ang="0">
                  <a:pos x="3" y="49"/>
                </a:cxn>
                <a:cxn ang="0">
                  <a:pos x="3" y="3"/>
                </a:cxn>
                <a:cxn ang="0">
                  <a:pos x="30" y="1"/>
                </a:cxn>
                <a:cxn ang="0">
                  <a:pos x="30" y="1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9"/>
                </a:cxn>
                <a:cxn ang="0">
                  <a:pos x="36" y="91"/>
                </a:cxn>
                <a:cxn ang="0">
                  <a:pos x="73" y="49"/>
                </a:cxn>
                <a:cxn ang="0">
                  <a:pos x="73" y="0"/>
                </a:cxn>
              </a:cxnLst>
              <a:rect l="0" t="0" r="r" b="b"/>
              <a:pathLst>
                <a:path w="73" h="91">
                  <a:moveTo>
                    <a:pt x="73" y="0"/>
                  </a:moveTo>
                  <a:cubicBezTo>
                    <a:pt x="73" y="0"/>
                    <a:pt x="72" y="0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7" y="10"/>
                    <a:pt x="65" y="25"/>
                    <a:pt x="61" y="36"/>
                  </a:cubicBezTo>
                  <a:cubicBezTo>
                    <a:pt x="57" y="49"/>
                    <a:pt x="49" y="58"/>
                    <a:pt x="36" y="57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36" y="88"/>
                    <a:pt x="3" y="73"/>
                    <a:pt x="3" y="4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76"/>
                    <a:pt x="36" y="91"/>
                    <a:pt x="36" y="91"/>
                  </a:cubicBezTo>
                  <a:cubicBezTo>
                    <a:pt x="36" y="91"/>
                    <a:pt x="73" y="76"/>
                    <a:pt x="73" y="49"/>
                  </a:cubicBezTo>
                  <a:cubicBezTo>
                    <a:pt x="73" y="0"/>
                    <a:pt x="73" y="0"/>
                    <a:pt x="73" y="0"/>
                  </a:cubicBezTo>
                  <a:close/>
                </a:path>
              </a:pathLst>
            </a:custGeom>
            <a:solidFill>
              <a:srgbClr val="D7364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621" eaLnBrk="1" fontAlgn="auto" hangingPunct="1">
                <a:spcBef>
                  <a:spcPts val="0"/>
                </a:spcBef>
                <a:spcAft>
                  <a:spcPct val="25000"/>
                </a:spcAft>
                <a:buFontTx/>
                <a:buChar char="•"/>
                <a:defRPr/>
              </a:pPr>
              <a:endParaRPr lang="en-US" sz="3200">
                <a:solidFill>
                  <a:srgbClr val="D11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ＭＳ Ｐゴシック" pitchFamily="34" charset="-128"/>
              </a:endParaRPr>
            </a:p>
          </p:txBody>
        </p:sp>
      </p:grpSp>
      <p:sp>
        <p:nvSpPr>
          <p:cNvPr id="1027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3184" y="1341967"/>
            <a:ext cx="11235267" cy="4349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1984" y="6356351"/>
            <a:ext cx="471349" cy="366183"/>
          </a:xfrm>
          <a:prstGeom prst="rect">
            <a:avLst/>
          </a:prstGeom>
        </p:spPr>
        <p:txBody>
          <a:bodyPr vert="horz" wrap="square" lIns="68598" tIns="34299" rIns="68598" bIns="3429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/>
            </a:lvl1pPr>
          </a:lstStyle>
          <a:p>
            <a:pPr>
              <a:defRPr/>
            </a:pPr>
            <a:fld id="{756DC54C-9938-4130-9520-D071717EBB89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8084"/>
            <a:ext cx="11235267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cxnSp>
        <p:nvCxnSpPr>
          <p:cNvPr id="1030" name="Straight Connector 9"/>
          <p:cNvCxnSpPr>
            <a:cxnSpLocks noChangeShapeType="1"/>
          </p:cNvCxnSpPr>
          <p:nvPr userDrawn="1"/>
        </p:nvCxnSpPr>
        <p:spPr bwMode="auto">
          <a:xfrm>
            <a:off x="626533" y="11916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extBox 1"/>
          <p:cNvSpPr txBox="1"/>
          <p:nvPr userDrawn="1"/>
        </p:nvSpPr>
        <p:spPr>
          <a:xfrm>
            <a:off x="684755" y="6482000"/>
            <a:ext cx="829073" cy="1949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7" b="1" cap="all" baseline="0">
                <a:solidFill>
                  <a:schemeClr val="tx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47879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40" r:id="rId12"/>
    <p:sldLayoutId id="2147483941" r:id="rId13"/>
    <p:sldLayoutId id="2147483943" r:id="rId14"/>
  </p:sldLayoutIdLst>
  <p:hf hd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 kern="1200">
          <a:solidFill>
            <a:schemeClr val="tx2"/>
          </a:solidFill>
          <a:latin typeface="Arial" charset="0"/>
          <a:ea typeface="Arial" charset="0"/>
          <a:cs typeface="Arial" charset="0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609585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1219170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828754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2438339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06910" indent="-306910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15935" indent="-309026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–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912261" indent="-296326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Wingdings" pitchFamily="2" charset="2"/>
        <a:buChar char="§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19170" indent="-306910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•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26079" indent="-306910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Arial" charset="0"/>
        <a:buChar char="•"/>
        <a:defRPr sz="18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2941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969842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426740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883638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1pPr>
      <a:lvl2pPr marL="456897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2pPr>
      <a:lvl3pPr marL="913798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695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594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494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391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289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187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B0A9A3-3895-4C5B-9DB0-F9D312D764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662971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07" imgH="308" progId="TCLayout.ActiveDocument.1">
                  <p:embed/>
                </p:oleObj>
              </mc:Choice>
              <mc:Fallback>
                <p:oleObj name="think-cell Slide" r:id="rId35" imgW="307" imgH="3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B0A9A3-3895-4C5B-9DB0-F9D312D76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ACF1894-DEB1-4D02-99D2-CFDA77BEDC0B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Trebuchet MS" panose="020B0603020202020204" pitchFamily="34" charset="0"/>
              <a:ea typeface="+mj-ea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" y="8229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072" y="1498060"/>
            <a:ext cx="10924674" cy="46789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Proxima Nova Regular" panose="02000506030000020004" pitchFamily="2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F37C4B3-C390-1B4B-9F24-930CD9AE7CA0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Proxima Nova Regular" panose="02000506030000020004" pitchFamily="2" charset="0"/>
              </a:rPr>
              <a:t>Confidential – Internal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9DF1259-AB85-4463-A3CD-EFD729416EC3}"/>
              </a:ext>
            </a:extLst>
          </p:cNvPr>
          <p:cNvSpPr txBox="1">
            <a:spLocks/>
          </p:cNvSpPr>
          <p:nvPr userDrawn="1"/>
        </p:nvSpPr>
        <p:spPr>
          <a:xfrm>
            <a:off x="5054600" y="0"/>
            <a:ext cx="2082800" cy="1657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0">
                <a:solidFill>
                  <a:schemeClr val="tx1">
                    <a:lumMod val="50000"/>
                  </a:schemeClr>
                </a:solidFill>
                <a:latin typeface="Trebuchet MS" panose="020B060302020202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80852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  <p:sldLayoutId id="2147484153" r:id="rId12"/>
    <p:sldLayoutId id="2147484154" r:id="rId13"/>
    <p:sldLayoutId id="2147484155" r:id="rId14"/>
    <p:sldLayoutId id="2147484156" r:id="rId15"/>
    <p:sldLayoutId id="2147484157" r:id="rId16"/>
    <p:sldLayoutId id="2147484158" r:id="rId17"/>
    <p:sldLayoutId id="2147484159" r:id="rId18"/>
    <p:sldLayoutId id="2147484160" r:id="rId19"/>
    <p:sldLayoutId id="2147484161" r:id="rId20"/>
    <p:sldLayoutId id="2147484162" r:id="rId21"/>
    <p:sldLayoutId id="2147484163" r:id="rId22"/>
    <p:sldLayoutId id="2147484164" r:id="rId23"/>
    <p:sldLayoutId id="2147484165" r:id="rId24"/>
    <p:sldLayoutId id="2147484167" r:id="rId25"/>
    <p:sldLayoutId id="2147484168" r:id="rId26"/>
    <p:sldLayoutId id="2147484169" r:id="rId27"/>
    <p:sldLayoutId id="2147484170" r:id="rId28"/>
    <p:sldLayoutId id="2147484171" r:id="rId29"/>
    <p:sldLayoutId id="2147484172" r:id="rId30"/>
    <p:sldLayoutId id="2147484173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800" spc="0" baseline="0">
          <a:solidFill>
            <a:srgbClr val="C50F3C"/>
          </a:solidFill>
          <a:latin typeface="Trebuchet MS" panose="020B0703020202090204" pitchFamily="34" charset="0"/>
          <a:ea typeface="+mj-ea"/>
          <a:cs typeface="Rockwell Nova Light" panose="02060303020205020403" pitchFamily="18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8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2pPr>
      <a:lvl3pPr marL="687388" indent="-1651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6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1036638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4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21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F14ADFC-40C9-06FC-CDDB-18C284E397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706" y="391665"/>
            <a:ext cx="11553265" cy="570487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7A70F7-798F-3E6B-6CA7-8A0A02A53A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C4CAB7-6134-4E86-A5A6-E65258778CA1}" type="slidenum">
              <a:rPr lang="en-US" altLang="en-US"/>
              <a:pPr>
                <a:defRPr/>
              </a:pPr>
              <a:t>1</a:t>
            </a:fld>
            <a:endParaRPr lang="en-US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B9F19D-E32A-E367-339E-88FF81EFBB3C}"/>
              </a:ext>
            </a:extLst>
          </p:cNvPr>
          <p:cNvSpPr txBox="1"/>
          <p:nvPr/>
        </p:nvSpPr>
        <p:spPr>
          <a:xfrm>
            <a:off x="1983748" y="6093080"/>
            <a:ext cx="9553319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cs typeface="Arial"/>
              </a:rPr>
              <a:t>Companies commonly highlight observed case analysis in press releases which inflates rate of fibrosis improvement</a:t>
            </a:r>
          </a:p>
          <a:p>
            <a:r>
              <a:rPr lang="en-US" sz="1400" err="1">
                <a:cs typeface="Arial"/>
              </a:rPr>
              <a:t>Resmetirom</a:t>
            </a:r>
            <a:r>
              <a:rPr lang="en-US" sz="1400">
                <a:cs typeface="Arial"/>
              </a:rPr>
              <a:t> was approved based on an NRI analysis. Additional NRI analyses are shown in red outlined bars</a:t>
            </a:r>
            <a:endParaRPr lang="en-US"/>
          </a:p>
          <a:p>
            <a:r>
              <a:rPr lang="en-US" sz="1400">
                <a:cs typeface="Arial"/>
              </a:rPr>
              <a:t># placebo-adjusted result below zer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2AE70D-FBEB-D605-A6FA-C2A228BB351F}"/>
              </a:ext>
            </a:extLst>
          </p:cNvPr>
          <p:cNvSpPr txBox="1"/>
          <p:nvPr/>
        </p:nvSpPr>
        <p:spPr>
          <a:xfrm>
            <a:off x="2140323" y="804022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>
                <a:cs typeface="Arial"/>
              </a:rPr>
              <a:t>Non-Cirrhotic NAS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ABB225-7D30-2F4A-416B-DAE842626116}"/>
              </a:ext>
            </a:extLst>
          </p:cNvPr>
          <p:cNvSpPr txBox="1"/>
          <p:nvPr/>
        </p:nvSpPr>
        <p:spPr>
          <a:xfrm>
            <a:off x="7944970" y="804021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>
                <a:cs typeface="Arial"/>
              </a:rPr>
              <a:t>Cirrhotic NASH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BD13D88-0FF3-685E-0BE9-978E91471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298" y="-1"/>
            <a:ext cx="11235267" cy="647539"/>
          </a:xfrm>
          <a:solidFill>
            <a:schemeClr val="bg1"/>
          </a:solidFill>
        </p:spPr>
        <p:txBody>
          <a:bodyPr/>
          <a:lstStyle/>
          <a:p>
            <a:r>
              <a:rPr lang="en-US" altLang="en-US" sz="2650">
                <a:latin typeface="Arial"/>
                <a:cs typeface="Arial"/>
              </a:rPr>
              <a:t>Fibrosis Improvement – Reported Results and NRI Analyses</a:t>
            </a:r>
            <a:endParaRPr lang="en-US" sz="2650">
              <a:latin typeface="Arial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82A0783-B746-ED42-D77F-8D87E93612D0}"/>
              </a:ext>
            </a:extLst>
          </p:cNvPr>
          <p:cNvSpPr/>
          <p:nvPr/>
        </p:nvSpPr>
        <p:spPr>
          <a:xfrm>
            <a:off x="949234" y="696686"/>
            <a:ext cx="5477692" cy="5355771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A046457-4467-185A-D177-0891B86E9128}"/>
              </a:ext>
            </a:extLst>
          </p:cNvPr>
          <p:cNvSpPr/>
          <p:nvPr/>
        </p:nvSpPr>
        <p:spPr>
          <a:xfrm>
            <a:off x="6875417" y="709749"/>
            <a:ext cx="4881154" cy="5355771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AAE36A-A8FE-FF75-8CEA-A8A25A15FC6B}"/>
              </a:ext>
            </a:extLst>
          </p:cNvPr>
          <p:cNvSpPr/>
          <p:nvPr/>
        </p:nvSpPr>
        <p:spPr>
          <a:xfrm>
            <a:off x="7159998" y="1904440"/>
            <a:ext cx="208430" cy="1972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0A0CE5-A32E-2CF6-DC47-2D64DA74230C}"/>
              </a:ext>
            </a:extLst>
          </p:cNvPr>
          <p:cNvSpPr/>
          <p:nvPr/>
        </p:nvSpPr>
        <p:spPr>
          <a:xfrm>
            <a:off x="7159998" y="1568262"/>
            <a:ext cx="208430" cy="19722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8D8F608-B917-3D99-2B1C-793EE9264F49}"/>
              </a:ext>
            </a:extLst>
          </p:cNvPr>
          <p:cNvSpPr txBox="1"/>
          <p:nvPr/>
        </p:nvSpPr>
        <p:spPr>
          <a:xfrm>
            <a:off x="7373470" y="1521197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cs typeface="Arial"/>
              </a:rPr>
              <a:t>Reported Results</a:t>
            </a:r>
            <a:endParaRPr lang="en-US">
              <a:cs typeface="Arial" panose="020B060402020202020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1280B0-9478-6387-F410-9CE4E23FBB63}"/>
              </a:ext>
            </a:extLst>
          </p:cNvPr>
          <p:cNvSpPr txBox="1"/>
          <p:nvPr/>
        </p:nvSpPr>
        <p:spPr>
          <a:xfrm>
            <a:off x="7373470" y="1857373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cs typeface="Arial"/>
              </a:rPr>
              <a:t>NRI Analysi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813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52552-3E82-EBF0-C465-E29FBFA71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pporting Slides: Treatment Effect Siz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CFB705-52F7-8840-878C-BC2D076AFD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8D88AF-682E-4B51-B288-0A04CAE09877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6722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189-C943-4509-AB65-E85279D729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189-C943-4509-AB65-E85279D729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526F8A1-6F01-439B-973D-9BA02EED95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508">
              <a:defRPr/>
            </a:pPr>
            <a:endParaRPr lang="en-US" sz="3733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508">
              <a:defRPr/>
            </a:pPr>
            <a:fld id="{7FEFB649-1D6A-3F43-AFA4-8BC94F086C8D}" type="slidenum">
              <a:rPr lang="en-US" sz="1067">
                <a:solidFill>
                  <a:srgbClr val="000000"/>
                </a:solidFill>
                <a:latin typeface="Arial" charset="0"/>
              </a:rPr>
              <a:pPr defTabSz="914508">
                <a:defRPr/>
              </a:pPr>
              <a:t>11</a:t>
            </a:fld>
            <a:endParaRPr lang="en-US" sz="1067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48256"/>
            <a:ext cx="11235267" cy="786672"/>
          </a:xfrm>
        </p:spPr>
        <p:txBody>
          <a:bodyPr/>
          <a:lstStyle/>
          <a:p>
            <a:r>
              <a:rPr lang="en-US" altLang="en-US" sz="2667"/>
              <a:t>WAYFIND 454-6075 </a:t>
            </a:r>
            <a:r>
              <a:rPr lang="en-US" sz="2667"/>
              <a:t>Assumptions Regarding Histologic Respons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14F9E6B-0F0E-4A37-921C-CBD853A0E67A}"/>
              </a:ext>
            </a:extLst>
          </p:cNvPr>
          <p:cNvSpPr txBox="1">
            <a:spLocks/>
          </p:cNvSpPr>
          <p:nvPr/>
        </p:nvSpPr>
        <p:spPr bwMode="auto">
          <a:xfrm>
            <a:off x="609600" y="4748643"/>
            <a:ext cx="7548035" cy="17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493" tIns="60747" rIns="121493" bIns="60747" numCol="1" rtlCol="0" anchor="t" anchorCtr="0" compatLnSpc="1">
            <a:prstTxWarp prst="textNoShape">
              <a:avLst/>
            </a:prstTxWarp>
            <a:noAutofit/>
          </a:bodyPr>
          <a:lstStyle>
            <a:lvl1pPr marL="229060" indent="-229060" algn="l" defTabSz="681178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60849" indent="-231251" algn="l" defTabSz="681178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2560" indent="-221727" algn="l" defTabSz="681178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2196" indent="-229666" algn="l" defTabSz="681178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1805" indent="-229666" algn="l" defTabSz="681178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78550" indent="-170793" algn="l" defTabSz="683108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0064" indent="-170793" algn="l" defTabSz="683108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1632" indent="-170793" algn="l" defTabSz="683108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3206" indent="-170793" algn="l" defTabSz="683108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292" eaLnBrk="1" fontAlgn="auto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333">
                <a:solidFill>
                  <a:srgbClr val="000000"/>
                </a:solidFill>
              </a:rPr>
              <a:t>SEMA has reduced effect on both endpoints in F4 vs F1-F3</a:t>
            </a:r>
          </a:p>
          <a:p>
            <a:pPr defTabSz="911292" eaLnBrk="1" fontAlgn="auto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333">
                <a:solidFill>
                  <a:srgbClr val="000000"/>
                </a:solidFill>
              </a:rPr>
              <a:t>CILO+FIR has similar effects as in ATLAS (56% F4), with increase in fibrosis regression from 10% </a:t>
            </a:r>
            <a:r>
              <a:rPr lang="en-US" sz="1333">
                <a:solidFill>
                  <a:srgbClr val="000000"/>
                </a:solidFill>
                <a:sym typeface="Wingdings" panose="05000000000000000000" pitchFamily="2" charset="2"/>
              </a:rPr>
              <a:t>to </a:t>
            </a:r>
            <a:r>
              <a:rPr lang="en-US" sz="1333">
                <a:solidFill>
                  <a:srgbClr val="000000"/>
                </a:solidFill>
              </a:rPr>
              <a:t>15% due to prolongation of treatment (72 vs 48 to weeks)</a:t>
            </a:r>
          </a:p>
          <a:p>
            <a:pPr defTabSz="911292" eaLnBrk="1" fontAlgn="auto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333">
                <a:solidFill>
                  <a:srgbClr val="000000"/>
                </a:solidFill>
              </a:rPr>
              <a:t>Histologic benefits of SEMA/CILO/FIR will be additive of the effects of SEMA and CILO/FIR vs placebo</a:t>
            </a:r>
          </a:p>
          <a:p>
            <a:pPr lvl="1" defTabSz="911292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Biological pathways are independent and data from POC and ATLAS are supportive</a:t>
            </a:r>
          </a:p>
        </p:txBody>
      </p:sp>
      <p:graphicFrame>
        <p:nvGraphicFramePr>
          <p:cNvPr id="19" name="Content Placeholder 3">
            <a:extLst>
              <a:ext uri="{FF2B5EF4-FFF2-40B4-BE49-F238E27FC236}">
                <a16:creationId xmlns:a16="http://schemas.microsoft.com/office/drawing/2014/main" id="{45310C15-46F3-418E-ACEF-48E853B888AF}"/>
              </a:ext>
            </a:extLst>
          </p:cNvPr>
          <p:cNvGraphicFramePr>
            <a:graphicFrameLocks/>
          </p:cNvGraphicFramePr>
          <p:nvPr/>
        </p:nvGraphicFramePr>
        <p:xfrm>
          <a:off x="779549" y="1193800"/>
          <a:ext cx="10632902" cy="329597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648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50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7133">
                  <a:extLst>
                    <a:ext uri="{9D8B030D-6E8A-4147-A177-3AD203B41FA5}">
                      <a16:colId xmlns:a16="http://schemas.microsoft.com/office/drawing/2014/main" val="4131411381"/>
                    </a:ext>
                  </a:extLst>
                </a:gridCol>
                <a:gridCol w="216747">
                  <a:extLst>
                    <a:ext uri="{9D8B030D-6E8A-4147-A177-3AD203B41FA5}">
                      <a16:colId xmlns:a16="http://schemas.microsoft.com/office/drawing/2014/main" val="4119447364"/>
                    </a:ext>
                  </a:extLst>
                </a:gridCol>
                <a:gridCol w="893729">
                  <a:extLst>
                    <a:ext uri="{9D8B030D-6E8A-4147-A177-3AD203B41FA5}">
                      <a16:colId xmlns:a16="http://schemas.microsoft.com/office/drawing/2014/main" val="378363057"/>
                    </a:ext>
                  </a:extLst>
                </a:gridCol>
                <a:gridCol w="893729">
                  <a:extLst>
                    <a:ext uri="{9D8B030D-6E8A-4147-A177-3AD203B41FA5}">
                      <a16:colId xmlns:a16="http://schemas.microsoft.com/office/drawing/2014/main" val="2877663422"/>
                    </a:ext>
                  </a:extLst>
                </a:gridCol>
                <a:gridCol w="216747">
                  <a:extLst>
                    <a:ext uri="{9D8B030D-6E8A-4147-A177-3AD203B41FA5}">
                      <a16:colId xmlns:a16="http://schemas.microsoft.com/office/drawing/2014/main" val="2156077513"/>
                    </a:ext>
                  </a:extLst>
                </a:gridCol>
                <a:gridCol w="900071">
                  <a:extLst>
                    <a:ext uri="{9D8B030D-6E8A-4147-A177-3AD203B41FA5}">
                      <a16:colId xmlns:a16="http://schemas.microsoft.com/office/drawing/2014/main" val="4118555986"/>
                    </a:ext>
                  </a:extLst>
                </a:gridCol>
                <a:gridCol w="900071">
                  <a:extLst>
                    <a:ext uri="{9D8B030D-6E8A-4147-A177-3AD203B41FA5}">
                      <a16:colId xmlns:a16="http://schemas.microsoft.com/office/drawing/2014/main" val="538588875"/>
                    </a:ext>
                  </a:extLst>
                </a:gridCol>
                <a:gridCol w="216747">
                  <a:extLst>
                    <a:ext uri="{9D8B030D-6E8A-4147-A177-3AD203B41FA5}">
                      <a16:colId xmlns:a16="http://schemas.microsoft.com/office/drawing/2014/main" val="2808571630"/>
                    </a:ext>
                  </a:extLst>
                </a:gridCol>
                <a:gridCol w="793513">
                  <a:extLst>
                    <a:ext uri="{9D8B030D-6E8A-4147-A177-3AD203B41FA5}">
                      <a16:colId xmlns:a16="http://schemas.microsoft.com/office/drawing/2014/main" val="2880461064"/>
                    </a:ext>
                  </a:extLst>
                </a:gridCol>
                <a:gridCol w="793513">
                  <a:extLst>
                    <a:ext uri="{9D8B030D-6E8A-4147-A177-3AD203B41FA5}">
                      <a16:colId xmlns:a16="http://schemas.microsoft.com/office/drawing/2014/main" val="1629463317"/>
                    </a:ext>
                  </a:extLst>
                </a:gridCol>
                <a:gridCol w="793513">
                  <a:extLst>
                    <a:ext uri="{9D8B030D-6E8A-4147-A177-3AD203B41FA5}">
                      <a16:colId xmlns:a16="http://schemas.microsoft.com/office/drawing/2014/main" val="2286757658"/>
                    </a:ext>
                  </a:extLst>
                </a:gridCol>
                <a:gridCol w="793513">
                  <a:extLst>
                    <a:ext uri="{9D8B030D-6E8A-4147-A177-3AD203B41FA5}">
                      <a16:colId xmlns:a16="http://schemas.microsoft.com/office/drawing/2014/main" val="3455629359"/>
                    </a:ext>
                  </a:extLst>
                </a:gridCol>
              </a:tblGrid>
              <a:tr h="457200">
                <a:tc rowSpan="2"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ders, %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ovo Ph 2b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F2-F3)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5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endParaRPr lang="en-US" sz="1300" b="1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TLAS Ph 2b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F3-F4)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5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endParaRPr lang="en-US" sz="1300" b="1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TELLAR-3 (F3)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TELLAR-4 (F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endParaRPr lang="en-US" sz="13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ovo/Gilead Phase 2b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F4)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5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5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5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217082"/>
                  </a:ext>
                </a:extLst>
              </a:tr>
              <a:tr h="11887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lacebo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MA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.4 mg QD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lacebo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=38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ILO/FIR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=78</a:t>
                      </a:r>
                      <a:endParaRPr lang="en-US" sz="190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52000">
                          <a:srgbClr val="FF5F41"/>
                        </a:gs>
                        <a:gs pos="48000">
                          <a:srgbClr val="70AD47"/>
                        </a:gs>
                      </a:gsLst>
                      <a:lin ang="2700000" scaled="1"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l Patients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=802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37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l Patients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=877</a:t>
                      </a:r>
                      <a:endParaRPr lang="en-US" sz="190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lacebo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~80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MA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~120</a:t>
                      </a:r>
                      <a:endParaRPr lang="en-US" sz="190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ILO/FIR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~120</a:t>
                      </a:r>
                      <a:endParaRPr lang="en-US" sz="190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52000">
                          <a:srgbClr val="FF5F41"/>
                        </a:gs>
                        <a:gs pos="50000">
                          <a:srgbClr val="B88644"/>
                        </a:gs>
                        <a:gs pos="48000">
                          <a:srgbClr val="70AD47"/>
                        </a:gs>
                      </a:gsLst>
                      <a:lin ang="27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MA+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ILO/FIR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~120</a:t>
                      </a:r>
                      <a:endParaRPr lang="en-US" sz="190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3000">
                          <a:srgbClr val="00B0F0"/>
                        </a:gs>
                        <a:gs pos="67000">
                          <a:srgbClr val="FF5F41"/>
                        </a:gs>
                        <a:gs pos="60000">
                          <a:srgbClr val="70AD47"/>
                        </a:gs>
                        <a:gs pos="46000">
                          <a:srgbClr val="70AD47"/>
                        </a:gs>
                      </a:gsLst>
                      <a:lin ang="27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545450816"/>
                  </a:ext>
                </a:extLst>
              </a:tr>
              <a:tr h="825025"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brosis improvement without worsening of NASH</a:t>
                      </a:r>
                      <a:endParaRPr lang="en-US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3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19/58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endParaRPr lang="en-US" sz="1300" b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3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24/56)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300" b="0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</a:p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4/38)</a:t>
                      </a:r>
                      <a:endParaRPr lang="en-US" sz="13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51" marR="6351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1</a:t>
                      </a:r>
                    </a:p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14/67)</a:t>
                      </a:r>
                      <a:endParaRPr lang="en-US" sz="1300"/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</a:p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91/802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</a:p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118/877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51" marR="6351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121875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%</a:t>
                      </a:r>
                    </a:p>
                  </a:txBody>
                  <a:tcPr marL="6351" marR="6351" marT="0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%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+8%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7%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+15%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5%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+23%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345292"/>
                  </a:ext>
                </a:extLst>
              </a:tr>
              <a:tr h="825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ASH resolution without worsening of fibrosis</a:t>
                      </a:r>
                      <a:endParaRPr lang="en-US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7</a:t>
                      </a:r>
                      <a:endParaRPr lang="en-US" sz="1300" b="1" kern="120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10/58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9</a:t>
                      </a:r>
                    </a:p>
                    <a:p>
                      <a:pPr marL="0" marR="0" lvl="0" indent="0" algn="ctr" defTabSz="9137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33/56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</a:t>
                      </a:r>
                    </a:p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0/38)</a:t>
                      </a:r>
                      <a:endParaRPr lang="en-US" sz="13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51" marR="6351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.5</a:t>
                      </a:r>
                    </a:p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3/67)</a:t>
                      </a:r>
                      <a:endParaRPr lang="en-US" sz="1300"/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44/801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</a:p>
                    <a:p>
                      <a:pPr marL="0" marR="0" algn="ctr" defTabSz="1219170" rtl="0" eaLnBrk="1" latinLnBrk="0" hangingPunct="1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28/876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21875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%</a:t>
                      </a:r>
                    </a:p>
                  </a:txBody>
                  <a:tcPr marL="6351" marR="6351" marT="0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75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0%</a:t>
                      </a:r>
                    </a:p>
                    <a:p>
                      <a:pPr marL="0" algn="ctr" defTabSz="121875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+30%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75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5%</a:t>
                      </a:r>
                    </a:p>
                    <a:p>
                      <a:pPr marL="0" algn="ctr" defTabSz="121875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+5%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75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5%</a:t>
                      </a:r>
                    </a:p>
                    <a:p>
                      <a:pPr marL="0" algn="ctr" defTabSz="121875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300" b="1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+35%)</a:t>
                      </a:r>
                    </a:p>
                  </a:txBody>
                  <a:tcPr marL="6351" marR="635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754812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A015E84-66FE-4B76-A477-D168A67EAAF3}"/>
              </a:ext>
            </a:extLst>
          </p:cNvPr>
          <p:cNvGraphicFramePr>
            <a:graphicFrameLocks noGrp="1"/>
          </p:cNvGraphicFramePr>
          <p:nvPr/>
        </p:nvGraphicFramePr>
        <p:xfrm>
          <a:off x="8229600" y="4678036"/>
          <a:ext cx="3251200" cy="1927013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1613160">
                  <a:extLst>
                    <a:ext uri="{9D8B030D-6E8A-4147-A177-3AD203B41FA5}">
                      <a16:colId xmlns:a16="http://schemas.microsoft.com/office/drawing/2014/main" val="1300342082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3176744577"/>
                    </a:ext>
                  </a:extLst>
                </a:gridCol>
                <a:gridCol w="926840">
                  <a:extLst>
                    <a:ext uri="{9D8B030D-6E8A-4147-A177-3AD203B41FA5}">
                      <a16:colId xmlns:a16="http://schemas.microsoft.com/office/drawing/2014/main" val="1136939618"/>
                    </a:ext>
                  </a:extLst>
                </a:gridCol>
              </a:tblGrid>
              <a:tr h="281093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ovo Ph 2 (F4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Novo Ph 2 (F4)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500" b="1" kern="120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91788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sponders,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lacebo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MA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.4 mg QD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318047"/>
                  </a:ext>
                </a:extLst>
              </a:tr>
              <a:tr h="579120">
                <a:tc>
                  <a:txBody>
                    <a:bodyPr/>
                    <a:lstStyle>
                      <a:lvl1pPr marL="0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89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798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695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5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494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391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289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187" algn="l" defTabSz="913798" rtl="0" eaLnBrk="1" latinLnBrk="0" hangingPunct="1">
                        <a:defRPr sz="1865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brosis improvement without worsening of NASH</a:t>
                      </a:r>
                      <a:endParaRPr lang="en-US" sz="11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9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7/24)</a:t>
                      </a:r>
                    </a:p>
                  </a:txBody>
                  <a:tcPr marL="6351" marR="6351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5/47)</a:t>
                      </a:r>
                    </a:p>
                  </a:txBody>
                  <a:tcPr marL="6351" marR="6351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4887091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ASH resolution without worsening of fibrosis</a:t>
                      </a:r>
                      <a:endParaRPr lang="en-US" sz="11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21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(5/24)</a:t>
                      </a:r>
                    </a:p>
                  </a:txBody>
                  <a:tcPr marL="6351" marR="6351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34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(16/47)</a:t>
                      </a:r>
                    </a:p>
                  </a:txBody>
                  <a:tcPr marL="6351" marR="6351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015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14806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FIR+CILO (N=78) data from ATLAS Study (1/2)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12</a:t>
            </a:fld>
            <a:endParaRPr lang="en-US" altLang="en-US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393DBB8-2423-4FDF-B05F-690F1B1DE3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9732675"/>
              </p:ext>
            </p:extLst>
          </p:nvPr>
        </p:nvGraphicFramePr>
        <p:xfrm>
          <a:off x="1323077" y="1524800"/>
          <a:ext cx="9575480" cy="44222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740">
                  <a:extLst>
                    <a:ext uri="{9D8B030D-6E8A-4147-A177-3AD203B41FA5}">
                      <a16:colId xmlns:a16="http://schemas.microsoft.com/office/drawing/2014/main" val="3640008856"/>
                    </a:ext>
                  </a:extLst>
                </a:gridCol>
                <a:gridCol w="4787740">
                  <a:extLst>
                    <a:ext uri="{9D8B030D-6E8A-4147-A177-3AD203B41FA5}">
                      <a16:colId xmlns:a16="http://schemas.microsoft.com/office/drawing/2014/main" val="2163213236"/>
                    </a:ext>
                  </a:extLst>
                </a:gridCol>
              </a:tblGrid>
              <a:tr h="379567">
                <a:tc>
                  <a:txBody>
                    <a:bodyPr/>
                    <a:lstStyle/>
                    <a:p>
                      <a:pPr marL="0" marR="0" lvl="0" indent="0" algn="ctr" defTabSz="6853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imary and </a:t>
                      </a:r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ploratory Endpoints (F4)</a:t>
                      </a:r>
                      <a:endParaRPr lang="en-US" sz="1400" b="0" i="0" u="none" strike="noStrike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ctr" defTabSz="6853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fference in Proportion vs Placebo</a:t>
                      </a:r>
                      <a:endParaRPr lang="en-US" sz="1400" b="0" i="0" u="none" strike="noStrike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680742395"/>
                  </a:ext>
                </a:extLst>
              </a:tr>
              <a:tr h="261353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brosis improvement without worsening of NASH</a:t>
                      </a:r>
                    </a:p>
                  </a:txBody>
                  <a:tcPr marL="10503" marR="10503" marT="10503" marB="0" anchor="ctr"/>
                </a:tc>
                <a:tc>
                  <a:txBody>
                    <a:bodyPr/>
                    <a:lstStyle/>
                    <a:p>
                      <a:pPr marL="91440"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3%</a:t>
                      </a:r>
                    </a:p>
                  </a:txBody>
                  <a:tcPr marL="10503" marR="10503" marT="10503" marB="0" anchor="ctr"/>
                </a:tc>
                <a:extLst>
                  <a:ext uri="{0D108BD9-81ED-4DB2-BD59-A6C34878D82A}">
                    <a16:rowId xmlns:a16="http://schemas.microsoft.com/office/drawing/2014/main" val="3401786785"/>
                  </a:ext>
                </a:extLst>
              </a:tr>
              <a:tr h="261353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≥2-Point Improvement in NAS </a:t>
                      </a:r>
                    </a:p>
                  </a:txBody>
                  <a:tcPr marL="10503" marR="10503" marT="10503" marB="0" anchor="ctr"/>
                </a:tc>
                <a:tc>
                  <a:txBody>
                    <a:bodyPr/>
                    <a:lstStyle/>
                    <a:p>
                      <a:pPr marL="91440"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1%</a:t>
                      </a:r>
                    </a:p>
                  </a:txBody>
                  <a:tcPr marL="10503" marR="10503" marT="10503" marB="0" anchor="ctr"/>
                </a:tc>
                <a:extLst>
                  <a:ext uri="{0D108BD9-81ED-4DB2-BD59-A6C34878D82A}">
                    <a16:rowId xmlns:a16="http://schemas.microsoft.com/office/drawing/2014/main" val="2933629599"/>
                  </a:ext>
                </a:extLst>
              </a:tr>
              <a:tr h="261353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≥ 1-Grade Improvement in NAS Hepatic Steatosis</a:t>
                      </a:r>
                    </a:p>
                  </a:txBody>
                  <a:tcPr marL="10503" marR="10503" marT="10503" marB="0" anchor="ctr"/>
                </a:tc>
                <a:tc>
                  <a:txBody>
                    <a:bodyPr/>
                    <a:lstStyle/>
                    <a:p>
                      <a:pPr marL="91440"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.1%</a:t>
                      </a:r>
                    </a:p>
                  </a:txBody>
                  <a:tcPr marL="10503" marR="10503" marT="10503" marB="0" anchor="ctr"/>
                </a:tc>
                <a:extLst>
                  <a:ext uri="{0D108BD9-81ED-4DB2-BD59-A6C34878D82A}">
                    <a16:rowId xmlns:a16="http://schemas.microsoft.com/office/drawing/2014/main" val="741179686"/>
                  </a:ext>
                </a:extLst>
              </a:tr>
              <a:tr h="261353">
                <a:tc>
                  <a:txBody>
                    <a:bodyPr/>
                    <a:lstStyle/>
                    <a:p>
                      <a:pPr marL="9144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≥ 1-Grade Improvement in NAS Lobular Inflammation</a:t>
                      </a:r>
                    </a:p>
                  </a:txBody>
                  <a:tcPr marL="10503" marR="10503" marT="10503" marB="0" anchor="ctr"/>
                </a:tc>
                <a:tc>
                  <a:txBody>
                    <a:bodyPr/>
                    <a:lstStyle/>
                    <a:p>
                      <a:pPr marL="91440" algn="ct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4%</a:t>
                      </a:r>
                    </a:p>
                  </a:txBody>
                  <a:tcPr marL="10503" marR="10503" marT="10503" marB="0" anchor="ctr"/>
                </a:tc>
                <a:extLst>
                  <a:ext uri="{0D108BD9-81ED-4DB2-BD59-A6C34878D82A}">
                    <a16:rowId xmlns:a16="http://schemas.microsoft.com/office/drawing/2014/main" val="3648018629"/>
                  </a:ext>
                </a:extLst>
              </a:tr>
              <a:tr h="263918">
                <a:tc>
                  <a:txBody>
                    <a:bodyPr/>
                    <a:lstStyle/>
                    <a:p>
                      <a:pPr marL="91440" algn="l" rtl="0" fontAlgn="ctr">
                        <a:buClr>
                          <a:srgbClr val="000000"/>
                        </a:buClr>
                        <a:buSzPts val="1400"/>
                        <a:buFont typeface="Arial" panose="020B0604020202020204" pitchFamily="34" charset="0"/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≥ 1-Grade Improvement in NAS Hepatocellular Ballooning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91440" algn="ctr" rtl="0" fontAlgn="ctr">
                        <a:buClr>
                          <a:srgbClr val="000000"/>
                        </a:buClr>
                        <a:buSzPts val="1400"/>
                        <a:buFont typeface="Arial" panose="020B0604020202020204" pitchFamily="34" charset="0"/>
                        <a:buNone/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9%</a:t>
                      </a: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926723284"/>
                  </a:ext>
                </a:extLst>
              </a:tr>
              <a:tr h="391429">
                <a:tc>
                  <a:txBody>
                    <a:bodyPr/>
                    <a:lstStyle/>
                    <a:p>
                      <a:pPr marL="91440" marR="0" lvl="0" indent="0" algn="ctr" defTabSz="6853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ploratory Endpoints (F3 &amp; F4)</a:t>
                      </a:r>
                      <a:endParaRPr lang="en-US" sz="1400" b="0" i="0" u="none" strike="noStrike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6853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fference in LS Means of Change (95% CI) vs Placebo</a:t>
                      </a:r>
                      <a:endParaRPr lang="en-US" sz="1400" b="0" i="0" u="none" strike="noStrike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081527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patic Collagen Conten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0.7 (-3.0, 1.6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73996298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phometric Fat Conten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.5 (-5.9, -1.2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18130098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F Scor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0.4 (-0.7, -0.0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9847682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ver Stiffness by 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.1 (-6.6, 0.4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3228390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ansient Elastography CA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 (-31, 19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81054729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broSure/FibroTest Scor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0.04 (-0.08, -0.00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3231834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B-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0.06 (-0.34, 0.23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59129849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0.1 (-0.2, 0.0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1508895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F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73 (-0.201, 0.347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541904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0071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FIR+CILO (N=78) data from ATLAS Study (2/2)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13</a:t>
            </a:fld>
            <a:endParaRPr lang="en-US" altLang="en-US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393DBB8-2423-4FDF-B05F-690F1B1DE3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5549808"/>
              </p:ext>
            </p:extLst>
          </p:nvPr>
        </p:nvGraphicFramePr>
        <p:xfrm>
          <a:off x="1310477" y="1507415"/>
          <a:ext cx="9571046" cy="4050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5523">
                  <a:extLst>
                    <a:ext uri="{9D8B030D-6E8A-4147-A177-3AD203B41FA5}">
                      <a16:colId xmlns:a16="http://schemas.microsoft.com/office/drawing/2014/main" val="3640008856"/>
                    </a:ext>
                  </a:extLst>
                </a:gridCol>
                <a:gridCol w="4785523">
                  <a:extLst>
                    <a:ext uri="{9D8B030D-6E8A-4147-A177-3AD203B41FA5}">
                      <a16:colId xmlns:a16="http://schemas.microsoft.com/office/drawing/2014/main" val="2163213236"/>
                    </a:ext>
                  </a:extLst>
                </a:gridCol>
              </a:tblGrid>
              <a:tr h="392989">
                <a:tc>
                  <a:txBody>
                    <a:bodyPr/>
                    <a:lstStyle/>
                    <a:p>
                      <a:pPr marL="91440" marR="0" lvl="0" indent="0" algn="ctr" defTabSz="6853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ploratory Endpoints (F3 &amp; F4)</a:t>
                      </a:r>
                      <a:endParaRPr lang="en-US" sz="1400" b="0" i="0" u="none" strike="noStrike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6853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fference in LS Means of Change  (95% CI) vs Placebo</a:t>
                      </a:r>
                      <a:endParaRPr lang="en-US" sz="1400" b="0" i="0" u="none" strike="noStrike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081527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1 (-21, -1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850486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8 (-16, 0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0253691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G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 (-29, 26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4744216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Y18M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58 (-272, -43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73996298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Y18M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31 (-468, 5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18130098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0.028 (-0.210, 0.154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9847682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 Bile Aci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.5 (-7.7, -1.3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3228390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 Cholestero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 (5, 29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81054729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iglycerid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 (21, 72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3231834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D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 (-7, -1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59129849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D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(-1, 18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1508895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n-HD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 (8, 31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54190461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LD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(4, 12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6119476"/>
                  </a:ext>
                </a:extLst>
              </a:tr>
              <a:tr h="261248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dy Weigh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.7 (-3.5, 0.1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93253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8545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9B2313-5FE4-75C4-5DFF-1558067A7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pporting Slides: Go/No-Go Criteri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6C953D-DDD0-8A8E-5FCC-1067051047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8D88AF-682E-4B51-B288-0A04CAE09877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465703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3-Zone Decision Method </a:t>
            </a:r>
            <a:r>
              <a:rPr lang="en-US" sz="2000"/>
              <a:t>– Fibrosis Improvement w/o worsening of NASH 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15</a:t>
            </a:fld>
            <a:endParaRPr lang="en-US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60B4A9-68A2-4738-AF66-60BB8D70B4DB}"/>
              </a:ext>
            </a:extLst>
          </p:cNvPr>
          <p:cNvSpPr txBox="1"/>
          <p:nvPr/>
        </p:nvSpPr>
        <p:spPr>
          <a:xfrm>
            <a:off x="1242688" y="5716583"/>
            <a:ext cx="9706619" cy="746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>
                <a:srgbClr val="C00000"/>
              </a:buClr>
              <a:buNone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LRV = 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  <a:sym typeface="Symbol" panose="05050102010706020507" pitchFamily="18" charset="2"/>
              </a:rPr>
              <a:t>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8%,  TV = 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  <a:sym typeface="Symbol" panose="05050102010706020507" pitchFamily="18" charset="2"/>
              </a:rPr>
              <a:t>15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%; false-go = 0.1, false-stop = 0.05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; decisions are based on observed data; CI was constructed in consistent with the 3-Zone decision framework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buClr>
                <a:srgbClr val="C00000"/>
              </a:buClr>
              <a:buNone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*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Po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 was computed using Bayesian method to estimate the likelihood of success of the Ph3 study using data observed from current Ph</a:t>
            </a:r>
            <a:r>
              <a:rPr lang="en-US" sz="1000">
                <a:latin typeface="Arial" charset="0"/>
              </a:rPr>
              <a:t>2, where Ph2 was with sample size of 120:80 and 20% dropout, and Ph3 assumes the following design: N = 488, 3:2 randomization, 10% dropout and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2-sided alpha = 0.01. Missing data were imputed with NRI method. Beta priors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i.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 Beta(0.12, 0.88) and Beta(0.22, 0.78) for response rates in placebo and treatment, respectively, were considered.</a:t>
            </a:r>
          </a:p>
        </p:txBody>
      </p:sp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720EF5ED-CB03-5780-B34C-F2ADE1A829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5652428"/>
              </p:ext>
            </p:extLst>
          </p:nvPr>
        </p:nvGraphicFramePr>
        <p:xfrm>
          <a:off x="1242688" y="1371323"/>
          <a:ext cx="9706619" cy="42875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820710">
                  <a:extLst>
                    <a:ext uri="{9D8B030D-6E8A-4147-A177-3AD203B41FA5}">
                      <a16:colId xmlns:a16="http://schemas.microsoft.com/office/drawing/2014/main" val="3846037156"/>
                    </a:ext>
                  </a:extLst>
                </a:gridCol>
                <a:gridCol w="841240">
                  <a:extLst>
                    <a:ext uri="{9D8B030D-6E8A-4147-A177-3AD203B41FA5}">
                      <a16:colId xmlns:a16="http://schemas.microsoft.com/office/drawing/2014/main" val="3360076207"/>
                    </a:ext>
                  </a:extLst>
                </a:gridCol>
                <a:gridCol w="841240">
                  <a:extLst>
                    <a:ext uri="{9D8B030D-6E8A-4147-A177-3AD203B41FA5}">
                      <a16:colId xmlns:a16="http://schemas.microsoft.com/office/drawing/2014/main" val="617557671"/>
                    </a:ext>
                  </a:extLst>
                </a:gridCol>
                <a:gridCol w="984728">
                  <a:extLst>
                    <a:ext uri="{9D8B030D-6E8A-4147-A177-3AD203B41FA5}">
                      <a16:colId xmlns:a16="http://schemas.microsoft.com/office/drawing/2014/main" val="100219200"/>
                    </a:ext>
                  </a:extLst>
                </a:gridCol>
                <a:gridCol w="1304041">
                  <a:extLst>
                    <a:ext uri="{9D8B030D-6E8A-4147-A177-3AD203B41FA5}">
                      <a16:colId xmlns:a16="http://schemas.microsoft.com/office/drawing/2014/main" val="3416087546"/>
                    </a:ext>
                  </a:extLst>
                </a:gridCol>
                <a:gridCol w="1304041">
                  <a:extLst>
                    <a:ext uri="{9D8B030D-6E8A-4147-A177-3AD203B41FA5}">
                      <a16:colId xmlns:a16="http://schemas.microsoft.com/office/drawing/2014/main" val="2679054727"/>
                    </a:ext>
                  </a:extLst>
                </a:gridCol>
                <a:gridCol w="1304041">
                  <a:extLst>
                    <a:ext uri="{9D8B030D-6E8A-4147-A177-3AD203B41FA5}">
                      <a16:colId xmlns:a16="http://schemas.microsoft.com/office/drawing/2014/main" val="1557069246"/>
                    </a:ext>
                  </a:extLst>
                </a:gridCol>
                <a:gridCol w="667808">
                  <a:extLst>
                    <a:ext uri="{9D8B030D-6E8A-4147-A177-3AD203B41FA5}">
                      <a16:colId xmlns:a16="http://schemas.microsoft.com/office/drawing/2014/main" val="2093881821"/>
                    </a:ext>
                  </a:extLst>
                </a:gridCol>
                <a:gridCol w="667808">
                  <a:extLst>
                    <a:ext uri="{9D8B030D-6E8A-4147-A177-3AD203B41FA5}">
                      <a16:colId xmlns:a16="http://schemas.microsoft.com/office/drawing/2014/main" val="2017207376"/>
                    </a:ext>
                  </a:extLst>
                </a:gridCol>
                <a:gridCol w="970962">
                  <a:extLst>
                    <a:ext uri="{9D8B030D-6E8A-4147-A177-3AD203B41FA5}">
                      <a16:colId xmlns:a16="http://schemas.microsoft.com/office/drawing/2014/main" val="636643336"/>
                    </a:ext>
                  </a:extLst>
                </a:gridCol>
              </a:tblGrid>
              <a:tr h="420779">
                <a:tc rowSpan="2"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sp in Placebo</a:t>
                      </a:r>
                    </a:p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N = 80)</a:t>
                      </a:r>
                    </a:p>
                  </a:txBody>
                  <a:tcPr marL="7620" marR="7620" marT="7620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sp in Triple Combo 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N = 120)</a:t>
                      </a: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reatment Effect vs PBO</a:t>
                      </a: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 of Success (</a:t>
                      </a:r>
                      <a:r>
                        <a:rPr 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* of Ph3</a:t>
                      </a: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0922074"/>
                  </a:ext>
                </a:extLst>
              </a:tr>
              <a:tr h="311420">
                <a:tc vMerge="1"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cebo Resp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-Go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≤)</a:t>
                      </a: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</a:t>
                      </a:r>
                    </a:p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Sided P ≤ 0.05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-Go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≤)</a:t>
                      </a: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</a:t>
                      </a:r>
                    </a:p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Sided P ≤ 0.05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-Go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≤)</a:t>
                      </a: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</a:t>
                      </a:r>
                    </a:p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Sided P ≤ 0.05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135496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 10.0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 16.7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 25.0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 19.2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.7% ( 0.5%, 14.5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% ( 8.4%, 23.5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9.2% ( 2.9%, 17.3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1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4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317812"/>
                  </a:ext>
                </a:extLst>
              </a:tr>
              <a:tr h="27220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 11.3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 17.5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 26.7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 20.8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.3% (-0.1%, 14.4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 ( 8.5%, 24.2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9.6% ( 3.0%, 18.0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1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5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034808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 12.5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 18.3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 28.3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 21.7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.8% (-0.7%, 14.2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% ( 8.7%, 24.9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9.2% ( 2.4%, 17.8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1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254469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 13.8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 20.0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 29.2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 23.3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.3% (-0.6%, 15.0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 ( 8.2%, 24.7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9.6% ( 2.6%, 18.6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1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6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2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873344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 15.0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 20.8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 30.8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 25.0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.8% (-1.1%, 14.8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% ( 8.4%, 25.4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% ( 2.8%, 19.2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4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5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3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760289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 16.3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 21.7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 32.5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 26.7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.4% (-1.7%, 14.6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3% ( 8.6%, 26.0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% ( 3.0%, 19.9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7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8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24790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 17.5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 22.5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 33.3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 28.3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.0% (-2.3%, 14.4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% ( 8.1%, 25.8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% ( 3.3%, 20.6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3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1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830681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 18.8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 23.3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 35.0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 29.2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.6% (-2.9%, 14.2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3% ( 8.3%, 26.4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4% ( 2.7%, 20.3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1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1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4248449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 20.0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 25.0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 36.7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 30.8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.0% (-2.6%, 14.8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 ( 8.6%, 27.0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% ( 3.0%, 20.9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9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1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945269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 21.3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 25.8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 37.5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 32.5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.6% (-3.2%, 14.6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3% ( 8.1%, 26.7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% ( 3.2%, 21.5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8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2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2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709240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 22.5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 26.7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 39.2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 33.3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.2% (-3.7%, 14.3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 ( 8.4%, 27.3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% ( 2.7%, 21.3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7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4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98611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 23.8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 28.3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 40.8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 35.0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.6% (-3.5%, 14.9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% ( 8.7%, 27.8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% ( 3.0%, 21.9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4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6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0894053"/>
                  </a:ext>
                </a:extLst>
              </a:tr>
              <a:tr h="270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 25.0%)</a:t>
                      </a: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 29.2%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 41.7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 36.7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.2% (-4.0%, 14.7%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 ( 8.2%, 27.5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% ( 3.3%, 22.4%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6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6896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7257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3-Zone Decision Method </a:t>
            </a:r>
            <a:r>
              <a:rPr lang="en-US" sz="2000"/>
              <a:t>– Fibrosis Improvement w/o worsening of NASH 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16</a:t>
            </a:fld>
            <a:endParaRPr lang="en-US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4C750A-72A9-453B-9CF5-BDA102D5BFF4}"/>
              </a:ext>
            </a:extLst>
          </p:cNvPr>
          <p:cNvSpPr txBox="1"/>
          <p:nvPr/>
        </p:nvSpPr>
        <p:spPr>
          <a:xfrm>
            <a:off x="6385199" y="5020865"/>
            <a:ext cx="47527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2400"/>
              </a:spcBef>
              <a:buClr>
                <a:srgbClr val="C00000"/>
              </a:buClr>
              <a:buNone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Treatment (n = 120) vs Placebo (n = 80); Placebo rate = 12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CF4CFD-D4EB-27F5-52A5-ED19E813F4A9}"/>
              </a:ext>
            </a:extLst>
          </p:cNvPr>
          <p:cNvSpPr txBox="1"/>
          <p:nvPr/>
        </p:nvSpPr>
        <p:spPr>
          <a:xfrm>
            <a:off x="3063603" y="6356351"/>
            <a:ext cx="609442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LRV =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  <a:sym typeface="Symbol" panose="05050102010706020507" pitchFamily="18" charset="2"/>
              </a:rPr>
              <a:t>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8%,  TV =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  <a:sym typeface="Symbol" panose="05050102010706020507" pitchFamily="18" charset="2"/>
              </a:rPr>
              <a:t>15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%; false-go = 0.1, false-stop = 0.05</a:t>
            </a:r>
            <a:endParaRPr lang="en-US" sz="1200" b="1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D16ADB5-A4CB-561D-5D46-29FFDEE8D0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6758603"/>
              </p:ext>
            </p:extLst>
          </p:nvPr>
        </p:nvGraphicFramePr>
        <p:xfrm>
          <a:off x="6391072" y="2305455"/>
          <a:ext cx="5226584" cy="263521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799451">
                  <a:extLst>
                    <a:ext uri="{9D8B030D-6E8A-4147-A177-3AD203B41FA5}">
                      <a16:colId xmlns:a16="http://schemas.microsoft.com/office/drawing/2014/main" val="4006880807"/>
                    </a:ext>
                  </a:extLst>
                </a:gridCol>
                <a:gridCol w="1686445">
                  <a:extLst>
                    <a:ext uri="{9D8B030D-6E8A-4147-A177-3AD203B41FA5}">
                      <a16:colId xmlns:a16="http://schemas.microsoft.com/office/drawing/2014/main" val="3063565130"/>
                    </a:ext>
                  </a:extLst>
                </a:gridCol>
                <a:gridCol w="685172">
                  <a:extLst>
                    <a:ext uri="{9D8B030D-6E8A-4147-A177-3AD203B41FA5}">
                      <a16:colId xmlns:a16="http://schemas.microsoft.com/office/drawing/2014/main" val="1653620492"/>
                    </a:ext>
                  </a:extLst>
                </a:gridCol>
                <a:gridCol w="685172">
                  <a:extLst>
                    <a:ext uri="{9D8B030D-6E8A-4147-A177-3AD203B41FA5}">
                      <a16:colId xmlns:a16="http://schemas.microsoft.com/office/drawing/2014/main" val="978186065"/>
                    </a:ext>
                  </a:extLst>
                </a:gridCol>
                <a:gridCol w="685172">
                  <a:extLst>
                    <a:ext uri="{9D8B030D-6E8A-4147-A177-3AD203B41FA5}">
                      <a16:colId xmlns:a16="http://schemas.microsoft.com/office/drawing/2014/main" val="2758039096"/>
                    </a:ext>
                  </a:extLst>
                </a:gridCol>
                <a:gridCol w="685172">
                  <a:extLst>
                    <a:ext uri="{9D8B030D-6E8A-4147-A177-3AD203B41FA5}">
                      <a16:colId xmlns:a16="http://schemas.microsoft.com/office/drawing/2014/main" val="1780543464"/>
                    </a:ext>
                  </a:extLst>
                </a:gridCol>
              </a:tblGrid>
              <a:tr h="612264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ropout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ue Effect </a:t>
                      </a:r>
                    </a:p>
                    <a:p>
                      <a:pPr marL="91440"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sym typeface="Symbol" panose="05050102010706020507" pitchFamily="18" charset="2"/>
                        </a:rPr>
                        <a:t>Rate Difference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bability of Decision 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 a given True Effec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wer </a:t>
                      </a:r>
                    </a:p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Sided P ≤ 0.05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2915105"/>
                  </a:ext>
                </a:extLst>
              </a:tr>
              <a:tr h="33715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ide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-G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991424"/>
                  </a:ext>
                </a:extLst>
              </a:tr>
              <a:tr h="337158">
                <a:tc rowSpan="3"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reat (TV = 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sym typeface="Symbol" panose="05050102010706020507" pitchFamily="18" charset="2"/>
                        </a:rPr>
                        <a:t>0.15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2523075"/>
                  </a:ext>
                </a:extLst>
              </a:tr>
              <a:tr h="337158">
                <a:tc vMerge="1">
                  <a:txBody>
                    <a:bodyPr/>
                    <a:lstStyle/>
                    <a:p>
                      <a:pPr marL="91440" algn="l" fontAlgn="ctr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nimal (LRV = 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sym typeface="Symbol" panose="05050102010706020507" pitchFamily="18" charset="2"/>
                        </a:rPr>
                        <a:t>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4822135"/>
                  </a:ext>
                </a:extLst>
              </a:tr>
              <a:tr h="337158">
                <a:tc vMerge="1">
                  <a:txBody>
                    <a:bodyPr/>
                    <a:lstStyle/>
                    <a:p>
                      <a:pPr marL="91440" algn="l" fontAlgn="ctr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 Effect (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sym typeface="Symbol" panose="05050102010706020507" pitchFamily="18" charset="2"/>
                        </a:rPr>
                        <a:t>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.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056681"/>
                  </a:ext>
                </a:extLst>
              </a:tr>
              <a:tr h="337158">
                <a:tc rowSpan="2"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reat (</a:t>
                      </a:r>
                      <a:r>
                        <a:rPr lang="en-US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TV </a:t>
                      </a:r>
                      <a:r>
                        <a:rPr lang="en-US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sym typeface="Symbol" panose="05050102010706020507" pitchFamily="18" charset="2"/>
                        </a:rPr>
                        <a:t>0.12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553608"/>
                  </a:ext>
                </a:extLst>
              </a:tr>
              <a:tr h="337158">
                <a:tc vMerge="1">
                  <a:txBody>
                    <a:bodyPr/>
                    <a:lstStyle/>
                    <a:p>
                      <a:pPr marL="91440" algn="l" fontAlgn="ctr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nimal (</a:t>
                      </a:r>
                      <a:r>
                        <a:rPr lang="en-US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LRV </a:t>
                      </a:r>
                      <a:r>
                        <a:rPr lang="en-US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sym typeface="Symbol" panose="05050102010706020507" pitchFamily="18" charset="2"/>
                        </a:rPr>
                        <a:t></a:t>
                      </a:r>
                      <a:r>
                        <a:rPr lang="en-US" sz="1100" b="0" i="0" u="none" strike="noStrike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0.064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288697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6F0B4A0-26E7-A28C-E43C-05A869548C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403" y="1963501"/>
            <a:ext cx="5486400" cy="3544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5394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3-Zone Decision Method </a:t>
            </a:r>
            <a:r>
              <a:rPr lang="en-US" sz="2000"/>
              <a:t>– Fibrosis Improvement w/o worsening of NASH 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17</a:t>
            </a:fld>
            <a:endParaRPr lang="en-US" alt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3A0054-81AB-CF76-1FF2-F4399BB6D1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303" y="1516757"/>
            <a:ext cx="7277027" cy="470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11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18</a:t>
            </a:fld>
            <a:endParaRPr lang="en-US" alt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15318E3-9B24-784A-C6C8-CEB8E737957C}"/>
              </a:ext>
            </a:extLst>
          </p:cNvPr>
          <p:cNvSpPr/>
          <p:nvPr/>
        </p:nvSpPr>
        <p:spPr>
          <a:xfrm>
            <a:off x="7871791" y="1743466"/>
            <a:ext cx="1943130" cy="584775"/>
          </a:xfrm>
          <a:prstGeom prst="roundRect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Meet PE: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2-sided P &lt; 0.05</a:t>
            </a:r>
            <a:endParaRPr lang="en-US" sz="140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463397E-1EB3-57E1-D9FC-C611644FD655}"/>
              </a:ext>
            </a:extLst>
          </p:cNvPr>
          <p:cNvSpPr/>
          <p:nvPr/>
        </p:nvSpPr>
        <p:spPr>
          <a:xfrm>
            <a:off x="7871792" y="2655625"/>
            <a:ext cx="1943130" cy="572015"/>
          </a:xfrm>
          <a:prstGeom prst="roundRect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Meet SE1: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2-sided P &lt; 0.05 </a:t>
            </a:r>
            <a:endParaRPr lang="en-US" sz="140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E0D48CF-A21C-7DB8-FB4E-DC0710733485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8843356" y="2328241"/>
            <a:ext cx="1" cy="327384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604C846-A93D-5B8E-2EA4-CCB5A9353549}"/>
              </a:ext>
            </a:extLst>
          </p:cNvPr>
          <p:cNvSpPr/>
          <p:nvPr/>
        </p:nvSpPr>
        <p:spPr>
          <a:xfrm>
            <a:off x="7871788" y="3554251"/>
            <a:ext cx="1943130" cy="527883"/>
          </a:xfrm>
          <a:prstGeom prst="roundRect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Meet SE2: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2-sided P &lt; 0.05 </a:t>
            </a:r>
            <a:endParaRPr lang="en-US" sz="14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657A262-738B-FDB2-4DC0-5BF5B0FC3C2E}"/>
              </a:ext>
            </a:extLst>
          </p:cNvPr>
          <p:cNvCxnSpPr>
            <a:cxnSpLocks/>
            <a:stCxn id="18" idx="2"/>
            <a:endCxn id="20" idx="0"/>
          </p:cNvCxnSpPr>
          <p:nvPr/>
        </p:nvCxnSpPr>
        <p:spPr>
          <a:xfrm flipH="1">
            <a:off x="8843353" y="3227640"/>
            <a:ext cx="4" cy="326611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A0311F8-F27B-02A5-8989-321D6C838866}"/>
              </a:ext>
            </a:extLst>
          </p:cNvPr>
          <p:cNvSpPr/>
          <p:nvPr/>
        </p:nvSpPr>
        <p:spPr>
          <a:xfrm>
            <a:off x="7871788" y="4516319"/>
            <a:ext cx="1943130" cy="527883"/>
          </a:xfrm>
          <a:prstGeom prst="roundRect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Meet SE3: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2-sided P &lt; 0.05 </a:t>
            </a:r>
            <a:endParaRPr lang="en-US" sz="140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6B97A31-4FBE-D986-22ED-FB0E7003A455}"/>
              </a:ext>
            </a:extLst>
          </p:cNvPr>
          <p:cNvCxnSpPr>
            <a:cxnSpLocks/>
            <a:stCxn id="20" idx="2"/>
            <a:endCxn id="22" idx="0"/>
          </p:cNvCxnSpPr>
          <p:nvPr/>
        </p:nvCxnSpPr>
        <p:spPr>
          <a:xfrm>
            <a:off x="8843353" y="4082134"/>
            <a:ext cx="0" cy="434185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E4B2726-7A55-917B-C31D-D310D87FB3F4}"/>
              </a:ext>
            </a:extLst>
          </p:cNvPr>
          <p:cNvSpPr txBox="1">
            <a:spLocks/>
          </p:cNvSpPr>
          <p:nvPr/>
        </p:nvSpPr>
        <p:spPr bwMode="auto">
          <a:xfrm>
            <a:off x="856906" y="1867381"/>
            <a:ext cx="4788516" cy="280076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230188" indent="-230188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61963" indent="-231775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charset="0"/>
              <a:buChar char="–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4213" indent="-22225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4400" indent="-230188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230188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4753" indent="-171342" algn="l" defTabSz="6853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437" indent="-171342" algn="l" defTabSz="6853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119" indent="-171342" algn="l" defTabSz="6853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801" indent="-171342" algn="l" defTabSz="6853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13" indent="-27431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00000"/>
              </a:buClr>
              <a:buFont typeface="Wingdings" panose="05000000000000000000" pitchFamily="2" charset="2"/>
              <a:buChar char="v"/>
              <a:defRPr/>
            </a:pPr>
            <a:r>
              <a:rPr lang="en-US" sz="2000" b="1"/>
              <a:t>Single primary endpoint</a:t>
            </a:r>
          </a:p>
          <a:p>
            <a:pPr marL="548640" lvl="1" indent="-27431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r>
              <a:rPr lang="en-US" sz="1600"/>
              <a:t>PE:   Fibrosis improvement without worsening of NASH triple vs placebo</a:t>
            </a:r>
          </a:p>
          <a:p>
            <a:pPr marL="548640" lvl="1" indent="-27431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r>
              <a:rPr lang="en-US" sz="1600"/>
              <a:t>SE1: Fibrosis improvement without worsening of NASH triple vs SEMA</a:t>
            </a:r>
          </a:p>
          <a:p>
            <a:pPr marL="548640" lvl="1" indent="-27431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r>
              <a:rPr lang="en-US" sz="1600"/>
              <a:t>SE2: NASH resolution triple vs placebo</a:t>
            </a:r>
          </a:p>
          <a:p>
            <a:pPr marL="548640" lvl="1" indent="-27431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r>
              <a:rPr lang="en-US" sz="1600"/>
              <a:t>SE3: NASH resolution triple vs CILO/FIR</a:t>
            </a:r>
            <a:endParaRPr lang="en-US" altLang="en-US" sz="160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F21FC83-BC0A-E3FA-59D7-644ECFE234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/>
              <a:t>Phase 2b Study Design </a:t>
            </a:r>
            <a:r>
              <a:rPr lang="en-US" sz="2400"/>
              <a:t>– Testing Strategy</a:t>
            </a:r>
          </a:p>
        </p:txBody>
      </p:sp>
    </p:spTree>
    <p:extLst>
      <p:ext uri="{BB962C8B-B14F-4D97-AF65-F5344CB8AC3E}">
        <p14:creationId xmlns:p14="http://schemas.microsoft.com/office/powerpoint/2010/main" val="11790790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1EC38-29B0-75F9-5AD4-D0ABCA871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pporting Slides: WAYFIND Biomarker Dat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FBDB62-65E9-6E9A-FF35-8890D24F8D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8D88AF-682E-4B51-B288-0A04CAE09877}" type="slidenum">
              <a:rPr lang="en-US" altLang="en-US" smtClean="0"/>
              <a:pPr>
                <a:defRPr/>
              </a:pPr>
              <a:t>1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620820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58C85E7D-509B-FD88-AB7F-74F76DADA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/>
              <a:t>Cirrhosis regression following effective therapy on average takes &gt; 1 yea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B19EFDB-B495-5E2D-8C0F-A4CD4799D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184" y="1341120"/>
            <a:ext cx="11235267" cy="4303679"/>
          </a:xfrm>
        </p:spPr>
        <p:txBody>
          <a:bodyPr>
            <a:spAutoFit/>
          </a:bodyPr>
          <a:lstStyle/>
          <a:p>
            <a:pPr marL="301625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+mn-lt"/>
                <a:cs typeface="Arial"/>
              </a:rPr>
              <a:t>1- and 5-yr biopsies in the open label extension of tenofovir disoproxil fumarate showed appreciable cirrhosis regression only at year 5</a:t>
            </a:r>
          </a:p>
          <a:p>
            <a:pPr marL="597951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Calibri" panose="020F0502020204030204" pitchFamily="34" charset="0"/>
              </a:rPr>
              <a:t>Marcellin, P., et al. (2013). "Regression of cirrhosis during treatment with tenofovir disoproxil fumarate for chronic hepatitis B: a 5-year open-label follow-up study." The Lancet 381(9865): 468-475.</a:t>
            </a:r>
            <a:endParaRPr lang="en-US" sz="1600" b="1">
              <a:latin typeface="+mn-lt"/>
            </a:endParaRPr>
          </a:p>
          <a:p>
            <a:pPr marL="301625" lvl="1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latin typeface="+mn-lt"/>
                <a:cs typeface="Arial"/>
              </a:rPr>
              <a:t>HCV Cure monitoring demonstrates a strong time dependence for observing cirrhosis regression by NITs, though minimal data is available before 72 weeks </a:t>
            </a:r>
            <a:endParaRPr lang="en-US" sz="1600" b="1" i="0">
              <a:latin typeface="+mn-lt"/>
              <a:cs typeface="Arial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67">
                <a:latin typeface="Calibri" panose="020F0502020204030204" pitchFamily="34" charset="0"/>
              </a:rPr>
              <a:t>Dunn, W., et al. (2021). Cirrhosis regression based on both Enhanced Liver Fibrosis (ELF) and </a:t>
            </a:r>
            <a:r>
              <a:rPr lang="en-US" sz="1667" err="1">
                <a:latin typeface="Calibri" panose="020F0502020204030204" pitchFamily="34" charset="0"/>
              </a:rPr>
              <a:t>Fibrotest</a:t>
            </a:r>
            <a:r>
              <a:rPr lang="en-US" sz="1667">
                <a:latin typeface="Calibri" panose="020F0502020204030204" pitchFamily="34" charset="0"/>
              </a:rPr>
              <a:t> after Direct-acting Hepatitis C therapeutics corresponds to a lower incidence rate of hepatocellular carcinoma below the cost-effective threshold for surveillance. EASL.</a:t>
            </a:r>
          </a:p>
          <a:p>
            <a:pPr marL="301844" lvl="1" indent="-295910">
              <a:spcBef>
                <a:spcPts val="1200"/>
              </a:spcBef>
              <a:spcAft>
                <a:spcPts val="600"/>
              </a:spcAft>
              <a:buFont typeface="Arial" panose="02070309020205020404" pitchFamily="49" charset="0"/>
              <a:buChar char="•"/>
            </a:pPr>
            <a:r>
              <a:rPr lang="en-US" sz="1600" b="1">
                <a:latin typeface="+mn-lt"/>
                <a:cs typeface="Arial"/>
              </a:rPr>
              <a:t>Bariatric surgery in NASH patients evaluated at 5 years showed minimal cirrhosis regression and a strong association with time since surgery among the overall advanced fibrosis coho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70" err="1">
                <a:latin typeface="Calibri" panose="020F0502020204030204" pitchFamily="34" charset="0"/>
              </a:rPr>
              <a:t>Pais</a:t>
            </a:r>
            <a:r>
              <a:rPr lang="en-US" sz="1670">
                <a:latin typeface="Calibri" panose="020F0502020204030204" pitchFamily="34" charset="0"/>
              </a:rPr>
              <a:t>, R., et al. (2022). "Persistence of severe liver fibrosis despite substantial weight loss with bariatric surgery." Hepatology 76(2): 456-468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70" err="1">
                <a:latin typeface="Calibri" panose="020F0502020204030204" pitchFamily="34" charset="0"/>
                <a:cs typeface="Arial"/>
              </a:rPr>
              <a:t>Lassailly</a:t>
            </a:r>
            <a:r>
              <a:rPr lang="en-US" sz="1670">
                <a:latin typeface="Calibri" panose="020F0502020204030204" pitchFamily="34" charset="0"/>
                <a:cs typeface="Arial"/>
              </a:rPr>
              <a:t>, G., et al (2020) “Bariatric Surgery Provides Long-term Resolution of Nonalcoholic Steatohepatitis and Regression of Fibrosis” Gastroenterology, 159; 1290-1301</a:t>
            </a:r>
            <a:endParaRPr lang="en-US" sz="1600">
              <a:latin typeface="+mn-lt"/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8FD7DB-346C-2646-D686-5AA11D4EFC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C4CAB7-6134-4E86-A5A6-E65258778CA1}" type="slidenum">
              <a:rPr lang="en-US" altLang="en-US" smtClean="0"/>
              <a:pPr>
                <a:defRPr/>
              </a:pPr>
              <a:t>2</a:t>
            </a:fld>
            <a:endParaRPr lang="en-US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CF3EBE-D41B-E718-2FDF-398D0706406B}"/>
              </a:ext>
            </a:extLst>
          </p:cNvPr>
          <p:cNvSpPr txBox="1"/>
          <p:nvPr/>
        </p:nvSpPr>
        <p:spPr>
          <a:xfrm>
            <a:off x="685801" y="5708187"/>
            <a:ext cx="11042650" cy="584775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+mn-lt"/>
                <a:cs typeface="Arial"/>
              </a:rPr>
              <a:t>Cirrhosis regression is likely a time-dependent phenomenon with no evidence to suggest appreciable regression occurring within 1 year</a:t>
            </a:r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7197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74C14-BAB4-3D1D-8518-911CBCFE9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>
                <a:latin typeface="Trebuchet MS"/>
              </a:rPr>
              <a:t>Estimating placebo rate of NIT analyse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26AE72-EE81-C255-9192-EA269B5623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7990A-45D4-29D5-9849-9E694B358C8B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433137" y="1414463"/>
            <a:ext cx="5019926" cy="1991314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 marL="342900" indent="-169863">
              <a:buChar char="•"/>
            </a:pPr>
            <a:r>
              <a:rPr lang="en-US" sz="1800">
                <a:latin typeface="Trebuchet MS"/>
              </a:rPr>
              <a:t>Informed by analysis of NITs in </a:t>
            </a:r>
            <a:r>
              <a:rPr lang="en-US" sz="1800" err="1">
                <a:latin typeface="Trebuchet MS"/>
              </a:rPr>
              <a:t>simtuzumab</a:t>
            </a:r>
            <a:r>
              <a:rPr lang="en-US" sz="1800">
                <a:latin typeface="Trebuchet MS"/>
              </a:rPr>
              <a:t> and STELLAR cirrhosis programs</a:t>
            </a:r>
          </a:p>
          <a:p>
            <a:pPr marL="342900" indent="-1698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>
                <a:latin typeface="Trebuchet MS"/>
              </a:rPr>
              <a:t>No compelling reason to pick any one NIT over the others but threshold at coefficient of variation (COV) improves signal to noise balance</a:t>
            </a:r>
          </a:p>
          <a:p>
            <a:pPr marL="168275">
              <a:spcBef>
                <a:spcPts val="600"/>
              </a:spcBef>
            </a:pPr>
            <a:endParaRPr lang="en-US" sz="1800">
              <a:latin typeface="Trebuchet M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1F37556-58DD-6C97-A796-1F5E7CB499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5098179"/>
              </p:ext>
            </p:extLst>
          </p:nvPr>
        </p:nvGraphicFramePr>
        <p:xfrm>
          <a:off x="6093078" y="1379312"/>
          <a:ext cx="5703381" cy="29269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13135">
                  <a:extLst>
                    <a:ext uri="{9D8B030D-6E8A-4147-A177-3AD203B41FA5}">
                      <a16:colId xmlns:a16="http://schemas.microsoft.com/office/drawing/2014/main" val="447131072"/>
                    </a:ext>
                  </a:extLst>
                </a:gridCol>
                <a:gridCol w="645762">
                  <a:extLst>
                    <a:ext uri="{9D8B030D-6E8A-4147-A177-3AD203B41FA5}">
                      <a16:colId xmlns:a16="http://schemas.microsoft.com/office/drawing/2014/main" val="536856677"/>
                    </a:ext>
                  </a:extLst>
                </a:gridCol>
                <a:gridCol w="1344484">
                  <a:extLst>
                    <a:ext uri="{9D8B030D-6E8A-4147-A177-3AD203B41FA5}">
                      <a16:colId xmlns:a16="http://schemas.microsoft.com/office/drawing/2014/main" val="692528989"/>
                    </a:ext>
                  </a:extLst>
                </a:gridCol>
              </a:tblGrid>
              <a:tr h="322925">
                <a:tc>
                  <a:txBody>
                    <a:bodyPr/>
                    <a:lstStyle/>
                    <a:p>
                      <a:r>
                        <a:rPr lang="en-US" sz="1200"/>
                        <a:t>Meeting Individual Criter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 (%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5368095"/>
                  </a:ext>
                </a:extLst>
              </a:tr>
              <a:tr h="322925">
                <a:tc>
                  <a:txBody>
                    <a:bodyPr/>
                    <a:lstStyle/>
                    <a:p>
                      <a:r>
                        <a:rPr lang="en-US" sz="1200"/>
                        <a:t>ELF absolute reduction at W48 &gt; 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104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439 (42.1%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2515059"/>
                  </a:ext>
                </a:extLst>
              </a:tr>
              <a:tr h="322925">
                <a:tc>
                  <a:txBody>
                    <a:bodyPr/>
                    <a:lstStyle/>
                    <a:p>
                      <a:r>
                        <a:rPr lang="en-US" sz="1200"/>
                        <a:t>FIB4 absolute reduction at W48 &gt; 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9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467 (46.8%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3287586"/>
                  </a:ext>
                </a:extLst>
              </a:tr>
              <a:tr h="322925">
                <a:tc>
                  <a:txBody>
                    <a:bodyPr/>
                    <a:lstStyle/>
                    <a:p>
                      <a:r>
                        <a:rPr lang="en-US" sz="1200" err="1"/>
                        <a:t>Fibroscan</a:t>
                      </a:r>
                      <a:r>
                        <a:rPr lang="en-US" sz="1200"/>
                        <a:t> reduction at W48 &gt; 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5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298 (51.1%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1618750"/>
                  </a:ext>
                </a:extLst>
              </a:tr>
              <a:tr h="322925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3820751"/>
                  </a:ext>
                </a:extLst>
              </a:tr>
              <a:tr h="322925">
                <a:tc>
                  <a:txBody>
                    <a:bodyPr/>
                    <a:lstStyle/>
                    <a:p>
                      <a:r>
                        <a:rPr lang="en-US" sz="1200" b="1"/>
                        <a:t>(Coefficient of variation [COV] Criteri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0975351"/>
                  </a:ext>
                </a:extLst>
              </a:tr>
              <a:tr h="343524">
                <a:tc>
                  <a:txBody>
                    <a:bodyPr/>
                    <a:lstStyle/>
                    <a:p>
                      <a:r>
                        <a:rPr lang="en-US" sz="1200"/>
                        <a:t>ELF absolute reduction at W48 &gt; 0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104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186 (17.8%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98313058"/>
                  </a:ext>
                </a:extLst>
              </a:tr>
              <a:tr h="322925">
                <a:tc>
                  <a:txBody>
                    <a:bodyPr/>
                    <a:lstStyle/>
                    <a:p>
                      <a:r>
                        <a:rPr lang="en-US" sz="1200"/>
                        <a:t>FIB4 relative reduction at W48 &gt; 1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9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253 (25.4%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75624660"/>
                  </a:ext>
                </a:extLst>
              </a:tr>
              <a:tr h="322925">
                <a:tc>
                  <a:txBody>
                    <a:bodyPr/>
                    <a:lstStyle/>
                    <a:p>
                      <a:r>
                        <a:rPr lang="en-US" sz="1200" err="1"/>
                        <a:t>Fibroscan</a:t>
                      </a:r>
                      <a:r>
                        <a:rPr lang="en-US" sz="1200"/>
                        <a:t> relative reduction at W48 &gt; 2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5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125 (26.4%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77498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07357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32E6B5-E485-60D5-5F30-E987FCBD1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85" y="327780"/>
            <a:ext cx="9988728" cy="786672"/>
          </a:xfrm>
        </p:spPr>
        <p:txBody>
          <a:bodyPr/>
          <a:lstStyle/>
          <a:p>
            <a:r>
              <a:rPr lang="en-US" sz="3200">
                <a:latin typeface="Trebuchet MS"/>
              </a:rPr>
              <a:t>Changes in </a:t>
            </a:r>
            <a:r>
              <a:rPr lang="en-US" sz="3200" err="1">
                <a:latin typeface="Trebuchet MS"/>
              </a:rPr>
              <a:t>SomaSignal</a:t>
            </a:r>
            <a:r>
              <a:rPr lang="en-US" sz="3200">
                <a:latin typeface="Trebuchet MS"/>
              </a:rPr>
              <a:t> Fibrosis Test Supported Consistency of Histological Response in ATLAS Stud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B97EA5-0D27-85E2-5B35-5ED810AE7D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F92F48A-FAEB-EFE2-C800-B260D4456E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691" y="2074460"/>
            <a:ext cx="5984036" cy="319836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EF4CBC5-D306-0B23-7225-14DB647AACBA}"/>
              </a:ext>
            </a:extLst>
          </p:cNvPr>
          <p:cNvSpPr txBox="1"/>
          <p:nvPr/>
        </p:nvSpPr>
        <p:spPr>
          <a:xfrm>
            <a:off x="166191" y="5350362"/>
            <a:ext cx="675368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050"/>
              <a:t>Means (95% CI) derived from linear mixed effect model are shown</a:t>
            </a:r>
          </a:p>
          <a:p>
            <a:pPr marL="285750" indent="-285750">
              <a:buFontTx/>
              <a:buChar char="-"/>
            </a:pPr>
            <a:r>
              <a:rPr lang="en-US" sz="1050" i="1"/>
              <a:t>P</a:t>
            </a:r>
            <a:r>
              <a:rPr lang="en-US" sz="1050"/>
              <a:t> values are not adjusted for multiple comparisons; ‘ns’ </a:t>
            </a:r>
            <a:r>
              <a:rPr lang="en-US" sz="1050" i="1"/>
              <a:t>P</a:t>
            </a:r>
            <a:r>
              <a:rPr lang="en-US" sz="1050"/>
              <a:t> &gt; 0.05, ‘*’ </a:t>
            </a:r>
            <a:r>
              <a:rPr lang="en-US" sz="1050" i="1"/>
              <a:t>P</a:t>
            </a:r>
            <a:r>
              <a:rPr lang="en-US" sz="1050"/>
              <a:t> &lt; 0.05, ‘**’ </a:t>
            </a:r>
            <a:r>
              <a:rPr lang="en-US" sz="1050" i="1"/>
              <a:t>P</a:t>
            </a:r>
            <a:r>
              <a:rPr lang="en-US" sz="1050"/>
              <a:t> &gt; 0.01, ‘***’ </a:t>
            </a:r>
            <a:r>
              <a:rPr lang="en-US" sz="1050" i="1"/>
              <a:t>P</a:t>
            </a:r>
            <a:r>
              <a:rPr lang="en-US" sz="1050"/>
              <a:t> &lt; 0.001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734B00-297D-F81A-6B53-33964726DE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727" y="2148654"/>
            <a:ext cx="5372274" cy="3343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4086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32E6B5-E485-60D5-5F30-E987FCBD1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latin typeface="Trebuchet MS"/>
              </a:rPr>
              <a:t>Changes in </a:t>
            </a:r>
            <a:r>
              <a:rPr lang="en-US" sz="2800" err="1">
                <a:latin typeface="Trebuchet MS"/>
              </a:rPr>
              <a:t>SomaSignal</a:t>
            </a:r>
            <a:r>
              <a:rPr lang="en-US" sz="2800">
                <a:latin typeface="Trebuchet MS"/>
              </a:rPr>
              <a:t> Fibrosis Test Associated with Anti-fibrotic Efficacy from External Clinical Trial</a:t>
            </a:r>
            <a:endParaRPr lang="en-US" sz="2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B97EA5-0D27-85E2-5B35-5ED810AE7D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5CA202-37D4-E606-A58C-528BED3957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853" r="1768"/>
          <a:stretch/>
        </p:blipFill>
        <p:spPr>
          <a:xfrm>
            <a:off x="385619" y="1690254"/>
            <a:ext cx="6258826" cy="337449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F503022-59F3-DF07-DB11-818A89499C53}"/>
              </a:ext>
            </a:extLst>
          </p:cNvPr>
          <p:cNvSpPr txBox="1"/>
          <p:nvPr/>
        </p:nvSpPr>
        <p:spPr>
          <a:xfrm>
            <a:off x="1251092" y="5264515"/>
            <a:ext cx="5708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LINT study: </a:t>
            </a:r>
            <a:r>
              <a:rPr lang="en-US" err="1"/>
              <a:t>Obeticholic</a:t>
            </a:r>
            <a:r>
              <a:rPr lang="en-US"/>
              <a:t> acid vs. placebo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775D5FA-5C42-938F-ADB1-BBF0E170BD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8073"/>
          <a:stretch/>
        </p:blipFill>
        <p:spPr>
          <a:xfrm>
            <a:off x="2255179" y="1592084"/>
            <a:ext cx="3699900" cy="31514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F119A12-4BD8-DCFB-A776-7C04FF5F6E8A}"/>
              </a:ext>
            </a:extLst>
          </p:cNvPr>
          <p:cNvSpPr txBox="1"/>
          <p:nvPr/>
        </p:nvSpPr>
        <p:spPr>
          <a:xfrm rot="16200000">
            <a:off x="-1593325" y="3309927"/>
            <a:ext cx="3608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Mean Logit (predicted probability)</a:t>
            </a:r>
          </a:p>
        </p:txBody>
      </p:sp>
      <p:pic>
        <p:nvPicPr>
          <p:cNvPr id="2050" name="Picture 2" descr="[GRAPHIC MISSING]">
            <a:extLst>
              <a:ext uri="{FF2B5EF4-FFF2-40B4-BE49-F238E27FC236}">
                <a16:creationId xmlns:a16="http://schemas.microsoft.com/office/drawing/2014/main" id="{879BC8D3-511A-9269-6C98-036FF9A6EB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86"/>
          <a:stretch/>
        </p:blipFill>
        <p:spPr bwMode="auto">
          <a:xfrm>
            <a:off x="7080087" y="1502350"/>
            <a:ext cx="4410595" cy="3946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8330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3</a:t>
            </a:fld>
            <a:endParaRPr lang="en-US" alt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5F08169-ACA1-EACD-BF43-4632202DCDE2}"/>
              </a:ext>
            </a:extLst>
          </p:cNvPr>
          <p:cNvGrpSpPr/>
          <p:nvPr/>
        </p:nvGrpSpPr>
        <p:grpSpPr>
          <a:xfrm>
            <a:off x="2887164" y="3120097"/>
            <a:ext cx="7192735" cy="2906864"/>
            <a:chOff x="4059673" y="2886328"/>
            <a:chExt cx="7192735" cy="2906864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69956D4D-C678-2429-0FD2-4E25EBA26E23}"/>
                </a:ext>
              </a:extLst>
            </p:cNvPr>
            <p:cNvSpPr/>
            <p:nvPr/>
          </p:nvSpPr>
          <p:spPr>
            <a:xfrm>
              <a:off x="4534823" y="2886328"/>
              <a:ext cx="2210536" cy="587353"/>
            </a:xfrm>
            <a:prstGeom prst="roundRect">
              <a:avLst/>
            </a:prstGeom>
            <a:noFill/>
            <a:ln w="19050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>
                  <a:solidFill>
                    <a:schemeClr val="accent6">
                      <a:lumMod val="50000"/>
                    </a:schemeClr>
                  </a:solidFill>
                </a:rPr>
                <a:t>Level 1</a:t>
              </a:r>
              <a:endParaRPr lang="en-US" sz="1200">
                <a:solidFill>
                  <a:schemeClr val="accent6">
                    <a:lumMod val="50000"/>
                  </a:schemeClr>
                </a:solidFill>
              </a:endParaRPr>
            </a:p>
            <a:p>
              <a:pPr algn="ctr"/>
              <a:r>
                <a:rPr lang="en-US" sz="1200">
                  <a:solidFill>
                    <a:schemeClr val="accent6">
                      <a:lumMod val="50000"/>
                    </a:schemeClr>
                  </a:solidFill>
                </a:rPr>
                <a:t>Primary Endpoint &amp; Safety</a:t>
              </a:r>
              <a:endParaRPr lang="en-US" sz="120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9F4E3FC-295E-47DB-10D8-134BB3431F03}"/>
                </a:ext>
              </a:extLst>
            </p:cNvPr>
            <p:cNvSpPr/>
            <p:nvPr/>
          </p:nvSpPr>
          <p:spPr>
            <a:xfrm>
              <a:off x="5938215" y="4107306"/>
              <a:ext cx="1268071" cy="527587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No-Go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A2ABFC14-5EB9-AD3D-B6A0-ECD7168E35CB}"/>
                </a:ext>
              </a:extLst>
            </p:cNvPr>
            <p:cNvSpPr/>
            <p:nvPr/>
          </p:nvSpPr>
          <p:spPr>
            <a:xfrm>
              <a:off x="8535258" y="4064326"/>
              <a:ext cx="2288567" cy="587353"/>
            </a:xfrm>
            <a:prstGeom prst="roundRect">
              <a:avLst/>
            </a:prstGeom>
            <a:noFill/>
            <a:ln w="19050">
              <a:solidFill>
                <a:srgbClr val="FFC000"/>
              </a:solidFill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>
                  <a:solidFill>
                    <a:schemeClr val="bg2">
                      <a:lumMod val="25000"/>
                    </a:schemeClr>
                  </a:solidFill>
                </a:rPr>
                <a:t>Level 2</a:t>
              </a:r>
              <a:endParaRPr lang="en-US" sz="1200">
                <a:solidFill>
                  <a:schemeClr val="bg2">
                    <a:lumMod val="25000"/>
                  </a:schemeClr>
                </a:solidFill>
              </a:endParaRPr>
            </a:p>
            <a:p>
              <a:pPr algn="ctr"/>
              <a:r>
                <a:rPr lang="en-US" sz="1200">
                  <a:solidFill>
                    <a:schemeClr val="bg2">
                      <a:lumMod val="25000"/>
                    </a:schemeClr>
                  </a:solidFill>
                </a:rPr>
                <a:t>Selected Critical Endpoints </a:t>
              </a: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E722A8D7-C5CA-8E91-4C7A-0E1A1E09F5E1}"/>
                </a:ext>
              </a:extLst>
            </p:cNvPr>
            <p:cNvCxnSpPr>
              <a:cxnSpLocks/>
              <a:stCxn id="8295" idx="4"/>
              <a:endCxn id="30" idx="0"/>
            </p:cNvCxnSpPr>
            <p:nvPr/>
          </p:nvCxnSpPr>
          <p:spPr>
            <a:xfrm>
              <a:off x="9668975" y="3454134"/>
              <a:ext cx="10566" cy="610193"/>
            </a:xfrm>
            <a:prstGeom prst="straightConnector1">
              <a:avLst/>
            </a:prstGeom>
            <a:ln w="19050">
              <a:solidFill>
                <a:srgbClr val="FFC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88" name="Oval 8287">
              <a:extLst>
                <a:ext uri="{FF2B5EF4-FFF2-40B4-BE49-F238E27FC236}">
                  <a16:creationId xmlns:a16="http://schemas.microsoft.com/office/drawing/2014/main" id="{3636D768-F566-D5E8-6846-46F0BE128AB0}"/>
                </a:ext>
              </a:extLst>
            </p:cNvPr>
            <p:cNvSpPr/>
            <p:nvPr/>
          </p:nvSpPr>
          <p:spPr>
            <a:xfrm>
              <a:off x="8165157" y="5265351"/>
              <a:ext cx="1268071" cy="52758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Go</a:t>
              </a:r>
            </a:p>
          </p:txBody>
        </p:sp>
        <p:cxnSp>
          <p:nvCxnSpPr>
            <p:cNvPr id="8290" name="Straight Arrow Connector 8289">
              <a:extLst>
                <a:ext uri="{FF2B5EF4-FFF2-40B4-BE49-F238E27FC236}">
                  <a16:creationId xmlns:a16="http://schemas.microsoft.com/office/drawing/2014/main" id="{18920EB9-9172-F175-C0AE-D5E58CE82250}"/>
                </a:ext>
              </a:extLst>
            </p:cNvPr>
            <p:cNvCxnSpPr>
              <a:cxnSpLocks/>
              <a:stCxn id="28" idx="3"/>
              <a:endCxn id="8295" idx="2"/>
            </p:cNvCxnSpPr>
            <p:nvPr/>
          </p:nvCxnSpPr>
          <p:spPr>
            <a:xfrm>
              <a:off x="6745359" y="3180005"/>
              <a:ext cx="2289581" cy="10336"/>
            </a:xfrm>
            <a:prstGeom prst="straightConnector1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91" name="Straight Arrow Connector 8290">
              <a:extLst>
                <a:ext uri="{FF2B5EF4-FFF2-40B4-BE49-F238E27FC236}">
                  <a16:creationId xmlns:a16="http://schemas.microsoft.com/office/drawing/2014/main" id="{C9E94715-321E-914F-F1D8-E3B73C513D1B}"/>
                </a:ext>
              </a:extLst>
            </p:cNvPr>
            <p:cNvCxnSpPr>
              <a:cxnSpLocks/>
              <a:stCxn id="28" idx="2"/>
              <a:endCxn id="29" idx="0"/>
            </p:cNvCxnSpPr>
            <p:nvPr/>
          </p:nvCxnSpPr>
          <p:spPr>
            <a:xfrm>
              <a:off x="5640091" y="3473681"/>
              <a:ext cx="932159" cy="633624"/>
            </a:xfrm>
            <a:prstGeom prst="straightConnector1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92" name="Straight Arrow Connector 8291">
              <a:extLst>
                <a:ext uri="{FF2B5EF4-FFF2-40B4-BE49-F238E27FC236}">
                  <a16:creationId xmlns:a16="http://schemas.microsoft.com/office/drawing/2014/main" id="{7058AE7A-9E1B-D99C-BB40-9195B9851DAC}"/>
                </a:ext>
              </a:extLst>
            </p:cNvPr>
            <p:cNvCxnSpPr>
              <a:cxnSpLocks/>
              <a:stCxn id="30" idx="2"/>
              <a:endCxn id="8297" idx="0"/>
            </p:cNvCxnSpPr>
            <p:nvPr/>
          </p:nvCxnSpPr>
          <p:spPr>
            <a:xfrm>
              <a:off x="9679542" y="4651679"/>
              <a:ext cx="938831" cy="613926"/>
            </a:xfrm>
            <a:prstGeom prst="straightConnector1">
              <a:avLst/>
            </a:prstGeom>
            <a:ln w="19050">
              <a:solidFill>
                <a:srgbClr val="FFC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94" name="Straight Arrow Connector 8293">
              <a:extLst>
                <a:ext uri="{FF2B5EF4-FFF2-40B4-BE49-F238E27FC236}">
                  <a16:creationId xmlns:a16="http://schemas.microsoft.com/office/drawing/2014/main" id="{7EA93AC6-7FDA-16B2-01B3-E06019FB6FD4}"/>
                </a:ext>
              </a:extLst>
            </p:cNvPr>
            <p:cNvCxnSpPr>
              <a:cxnSpLocks/>
              <a:stCxn id="30" idx="2"/>
              <a:endCxn id="8288" idx="0"/>
            </p:cNvCxnSpPr>
            <p:nvPr/>
          </p:nvCxnSpPr>
          <p:spPr>
            <a:xfrm flipH="1">
              <a:off x="8799192" y="4651679"/>
              <a:ext cx="880350" cy="613672"/>
            </a:xfrm>
            <a:prstGeom prst="straightConnector1">
              <a:avLst/>
            </a:prstGeom>
            <a:ln w="19050">
              <a:solidFill>
                <a:srgbClr val="FFC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95" name="Oval 8294">
              <a:extLst>
                <a:ext uri="{FF2B5EF4-FFF2-40B4-BE49-F238E27FC236}">
                  <a16:creationId xmlns:a16="http://schemas.microsoft.com/office/drawing/2014/main" id="{16569185-80D0-B8E0-528A-923A43FCA774}"/>
                </a:ext>
              </a:extLst>
            </p:cNvPr>
            <p:cNvSpPr/>
            <p:nvPr/>
          </p:nvSpPr>
          <p:spPr>
            <a:xfrm>
              <a:off x="9034940" y="2926547"/>
              <a:ext cx="1268071" cy="52758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Consider</a:t>
              </a:r>
            </a:p>
          </p:txBody>
        </p:sp>
        <p:sp>
          <p:nvSpPr>
            <p:cNvPr id="8297" name="Oval 8296">
              <a:extLst>
                <a:ext uri="{FF2B5EF4-FFF2-40B4-BE49-F238E27FC236}">
                  <a16:creationId xmlns:a16="http://schemas.microsoft.com/office/drawing/2014/main" id="{281989D8-EB80-45FA-8F9D-EE1F5BC5FACB}"/>
                </a:ext>
              </a:extLst>
            </p:cNvPr>
            <p:cNvSpPr/>
            <p:nvPr/>
          </p:nvSpPr>
          <p:spPr>
            <a:xfrm>
              <a:off x="9984337" y="5265605"/>
              <a:ext cx="1268071" cy="527587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No-Go</a:t>
              </a:r>
            </a:p>
          </p:txBody>
        </p:sp>
        <p:cxnSp>
          <p:nvCxnSpPr>
            <p:cNvPr id="8298" name="Straight Arrow Connector 8297">
              <a:extLst>
                <a:ext uri="{FF2B5EF4-FFF2-40B4-BE49-F238E27FC236}">
                  <a16:creationId xmlns:a16="http://schemas.microsoft.com/office/drawing/2014/main" id="{F92B55CC-FBEA-EBE9-D49C-DD149DBD606A}"/>
                </a:ext>
              </a:extLst>
            </p:cNvPr>
            <p:cNvCxnSpPr>
              <a:cxnSpLocks/>
              <a:stCxn id="28" idx="2"/>
              <a:endCxn id="8299" idx="0"/>
            </p:cNvCxnSpPr>
            <p:nvPr/>
          </p:nvCxnSpPr>
          <p:spPr>
            <a:xfrm flipH="1">
              <a:off x="4693708" y="3473681"/>
              <a:ext cx="946383" cy="633624"/>
            </a:xfrm>
            <a:prstGeom prst="straightConnector1">
              <a:avLst/>
            </a:prstGeom>
            <a:ln w="19050">
              <a:solidFill>
                <a:schemeClr val="accent6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99" name="Oval 8298">
              <a:extLst>
                <a:ext uri="{FF2B5EF4-FFF2-40B4-BE49-F238E27FC236}">
                  <a16:creationId xmlns:a16="http://schemas.microsoft.com/office/drawing/2014/main" id="{49C93348-873C-40D7-9738-3113DBAA1FD3}"/>
                </a:ext>
              </a:extLst>
            </p:cNvPr>
            <p:cNvSpPr/>
            <p:nvPr/>
          </p:nvSpPr>
          <p:spPr>
            <a:xfrm>
              <a:off x="4059673" y="4107306"/>
              <a:ext cx="1268071" cy="52758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latin typeface="Arial" panose="020B0604020202020204" pitchFamily="34" charset="0"/>
                  <a:cs typeface="Arial" panose="020B0604020202020204" pitchFamily="34" charset="0"/>
                </a:rPr>
                <a:t>Go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6ADF52A1-DCD6-D6C7-6C30-2067B4984EE7}"/>
              </a:ext>
            </a:extLst>
          </p:cNvPr>
          <p:cNvSpPr txBox="1"/>
          <p:nvPr/>
        </p:nvSpPr>
        <p:spPr>
          <a:xfrm>
            <a:off x="1246680" y="1586823"/>
            <a:ext cx="3220902" cy="1015663"/>
          </a:xfrm>
          <a:prstGeom prst="rect">
            <a:avLst/>
          </a:prstGeom>
          <a:noFill/>
          <a:ln w="19050" cmpd="dbl">
            <a:noFill/>
            <a:prstDash val="solid"/>
            <a:beve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chemeClr val="accent6">
                    <a:lumMod val="50000"/>
                  </a:schemeClr>
                </a:solidFill>
              </a:rPr>
              <a:t>Will be applied to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6">
                    <a:lumMod val="50000"/>
                  </a:schemeClr>
                </a:solidFill>
              </a:rPr>
              <a:t>CILO/FIR+SEMA vs Placebo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6">
                    <a:lumMod val="50000"/>
                  </a:schemeClr>
                </a:solidFill>
              </a:rPr>
              <a:t>CILO/FIR vs Placebo</a:t>
            </a:r>
          </a:p>
        </p:txBody>
      </p:sp>
      <p:sp useBgFill="1">
        <p:nvSpPr>
          <p:cNvPr id="8" name="Title 1">
            <a:extLst>
              <a:ext uri="{FF2B5EF4-FFF2-40B4-BE49-F238E27FC236}">
                <a16:creationId xmlns:a16="http://schemas.microsoft.com/office/drawing/2014/main" id="{7D6E2900-495B-60A6-D2BE-85850D014376}"/>
              </a:ext>
            </a:extLst>
          </p:cNvPr>
          <p:cNvSpPr txBox="1">
            <a:spLocks/>
          </p:cNvSpPr>
          <p:nvPr/>
        </p:nvSpPr>
        <p:spPr bwMode="auto">
          <a:xfrm>
            <a:off x="493184" y="328084"/>
            <a:ext cx="11235267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33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609585"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219170"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828754"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438339"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Go/No-Go Decision Framework</a:t>
            </a:r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9983981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Level 1 Go/No-Go Criteria </a:t>
            </a:r>
            <a:r>
              <a:rPr lang="en-US" sz="1800"/>
              <a:t>(Same Procedure for Triple vs PBO and CILO/FIR vs PBO)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4</a:t>
            </a:fld>
            <a:endParaRPr lang="en-US" altLang="en-US"/>
          </a:p>
        </p:txBody>
      </p:sp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8B36D40D-753D-BEB4-39A4-D1040A0CB323}"/>
              </a:ext>
            </a:extLst>
          </p:cNvPr>
          <p:cNvGraphicFramePr>
            <a:graphicFrameLocks noGrp="1"/>
          </p:cNvGraphicFramePr>
          <p:nvPr/>
        </p:nvGraphicFramePr>
        <p:xfrm>
          <a:off x="553600" y="1804390"/>
          <a:ext cx="11084800" cy="28341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8157">
                  <a:extLst>
                    <a:ext uri="{9D8B030D-6E8A-4147-A177-3AD203B41FA5}">
                      <a16:colId xmlns:a16="http://schemas.microsoft.com/office/drawing/2014/main" val="1351508705"/>
                    </a:ext>
                  </a:extLst>
                </a:gridCol>
                <a:gridCol w="2998881">
                  <a:extLst>
                    <a:ext uri="{9D8B030D-6E8A-4147-A177-3AD203B41FA5}">
                      <a16:colId xmlns:a16="http://schemas.microsoft.com/office/drawing/2014/main" val="1545050236"/>
                    </a:ext>
                  </a:extLst>
                </a:gridCol>
                <a:gridCol w="2998881">
                  <a:extLst>
                    <a:ext uri="{9D8B030D-6E8A-4147-A177-3AD203B41FA5}">
                      <a16:colId xmlns:a16="http://schemas.microsoft.com/office/drawing/2014/main" val="2462581555"/>
                    </a:ext>
                  </a:extLst>
                </a:gridCol>
                <a:gridCol w="2998881">
                  <a:extLst>
                    <a:ext uri="{9D8B030D-6E8A-4147-A177-3AD203B41FA5}">
                      <a16:colId xmlns:a16="http://schemas.microsoft.com/office/drawing/2014/main" val="2856511510"/>
                    </a:ext>
                  </a:extLst>
                </a:gridCol>
              </a:tblGrid>
              <a:tr h="382581"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121920" marR="121920" marT="60960" marB="6096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Go</a:t>
                      </a:r>
                    </a:p>
                  </a:txBody>
                  <a:tcPr marL="121920" marR="121920" marT="60960" marB="6096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onsider</a:t>
                      </a:r>
                    </a:p>
                  </a:txBody>
                  <a:tcPr marL="121920" marR="121920" marT="60960" marB="6096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-Go</a:t>
                      </a:r>
                    </a:p>
                  </a:txBody>
                  <a:tcPr marL="121920" marR="121920" marT="60960" marB="6096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510116"/>
                  </a:ext>
                </a:extLst>
              </a:tr>
              <a:tr h="1090084">
                <a:tc>
                  <a:txBody>
                    <a:bodyPr/>
                    <a:lstStyle/>
                    <a:p>
                      <a:r>
                        <a:rPr lang="en-US" sz="1200" b="1"/>
                        <a:t>Primary Endpoint: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/>
                        <a:t>Fibrosis improvement without worsening of NASH (% responders)</a:t>
                      </a:r>
                    </a:p>
                  </a:txBody>
                  <a:tcPr marL="121920" marR="121920" marT="60960" marB="6096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50"/>
                        <a:t>Meet </a:t>
                      </a:r>
                      <a:r>
                        <a:rPr lang="en-US" sz="1050" b="1"/>
                        <a:t>Go</a:t>
                      </a:r>
                      <a:r>
                        <a:rPr lang="en-US" sz="1050"/>
                        <a:t> criteria based on 3-zone framework for either primary or sensitivity analysis</a:t>
                      </a:r>
                      <a:r>
                        <a:rPr lang="en-US" sz="1050" baseline="30000"/>
                        <a:t>+</a:t>
                      </a:r>
                    </a:p>
                  </a:txBody>
                  <a:tcPr marL="121920" marR="121920" marT="60960" marB="60960" anchor="ctr"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7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Meet both for either primary or sensitivity analysis</a:t>
                      </a:r>
                      <a:r>
                        <a:rPr lang="en-US" sz="1050" baseline="30000"/>
                        <a:t>+</a:t>
                      </a:r>
                      <a:r>
                        <a:rPr lang="en-US" sz="1050"/>
                        <a:t>: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1050" b="1"/>
                        <a:t>1-sided p ≤ 0.05</a:t>
                      </a:r>
                      <a:r>
                        <a:rPr lang="en-US" sz="1050" b="1" baseline="30000"/>
                        <a:t>#</a:t>
                      </a:r>
                      <a:r>
                        <a:rPr lang="en-US" sz="1050"/>
                        <a:t>, and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1050" b="1"/>
                        <a:t>Consider</a:t>
                      </a:r>
                      <a:r>
                        <a:rPr lang="en-US" sz="1050"/>
                        <a:t> criteria based on 3-zone framework</a:t>
                      </a:r>
                    </a:p>
                  </a:txBody>
                  <a:tcPr marL="121920" marR="121920" marT="60960" marB="60960" anchor="ctr">
                    <a:solidFill>
                      <a:srgbClr val="FFC0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3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Meet at least one for primary and sensitivity analysis</a:t>
                      </a:r>
                      <a:r>
                        <a:rPr lang="en-US" sz="1050" baseline="30000"/>
                        <a:t>+</a:t>
                      </a:r>
                      <a:r>
                        <a:rPr lang="en-US" sz="1050"/>
                        <a:t>: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1050" b="1"/>
                        <a:t>1-sided p &gt; 0.05</a:t>
                      </a:r>
                      <a:r>
                        <a:rPr lang="en-US" sz="1050" b="1" baseline="30000"/>
                        <a:t>#</a:t>
                      </a:r>
                      <a:r>
                        <a:rPr lang="en-US" sz="1050"/>
                        <a:t>, or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1050" b="1"/>
                        <a:t>No-Go</a:t>
                      </a:r>
                      <a:r>
                        <a:rPr lang="en-US" sz="1050"/>
                        <a:t> criteria based on 3-zone framework</a:t>
                      </a:r>
                    </a:p>
                  </a:txBody>
                  <a:tcPr marL="121920" marR="121920" marT="60960" marB="60960" anchor="ctr">
                    <a:solidFill>
                      <a:srgbClr val="FF0000">
                        <a:alpha val="3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507825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121920" marR="121920" marT="60960" marB="60960" anchor="ctr"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- AND -</a:t>
                      </a:r>
                    </a:p>
                  </a:txBody>
                  <a:tcPr marL="121920" marR="121920" marT="60960" marB="60960" anchor="ctr">
                    <a:solidFill>
                      <a:srgbClr val="00B050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- AND -</a:t>
                      </a:r>
                    </a:p>
                  </a:txBody>
                  <a:tcPr marL="121920" marR="121920" marT="60960" marB="60960" anchor="ctr">
                    <a:solidFill>
                      <a:srgbClr val="FFC000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3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- OR -</a:t>
                      </a:r>
                    </a:p>
                  </a:txBody>
                  <a:tcPr marL="121920" marR="121920" marT="60960" marB="60960" anchor="ctr">
                    <a:solidFill>
                      <a:srgbClr val="FF0000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405199"/>
                  </a:ext>
                </a:extLst>
              </a:tr>
              <a:tr h="1036320">
                <a:tc>
                  <a:txBody>
                    <a:bodyPr/>
                    <a:lstStyle/>
                    <a:p>
                      <a:r>
                        <a:rPr lang="en-US" sz="1200" b="1"/>
                        <a:t>Safety</a:t>
                      </a:r>
                      <a:endParaRPr lang="en-US" sz="1300"/>
                    </a:p>
                  </a:txBody>
                  <a:tcPr marL="121920" marR="121920" marT="60960" marB="6096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7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No significant imbalance in </a:t>
                      </a:r>
                      <a:r>
                        <a:rPr lang="en-US" sz="1050" b="1"/>
                        <a:t>serious safety concerns* </a:t>
                      </a:r>
                      <a:r>
                        <a:rPr lang="en-US" sz="1050"/>
                        <a:t>that are unfavorable for the treatment arm</a:t>
                      </a:r>
                      <a:endParaRPr lang="en-US" sz="1050" strike="noStrike"/>
                    </a:p>
                  </a:txBody>
                  <a:tcPr marL="121920" marR="121920" marT="60960" marB="60960" anchor="ctr"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7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No significant imbalance in </a:t>
                      </a:r>
                      <a:r>
                        <a:rPr lang="en-US" sz="1050" b="1"/>
                        <a:t>serious safety concerns* </a:t>
                      </a:r>
                      <a:r>
                        <a:rPr lang="en-US" sz="1050"/>
                        <a:t>that are unfavorable for the treatment arm</a:t>
                      </a:r>
                      <a:endParaRPr lang="en-US" sz="1050" strike="noStrike"/>
                    </a:p>
                  </a:txBody>
                  <a:tcPr marL="121920" marR="121920" marT="60960" marB="60960" anchor="ctr">
                    <a:solidFill>
                      <a:srgbClr val="FFC0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7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Significant imbalance in </a:t>
                      </a:r>
                      <a:r>
                        <a:rPr lang="en-US" sz="1050" b="1"/>
                        <a:t>serious safety concerns* </a:t>
                      </a:r>
                      <a:r>
                        <a:rPr lang="en-US" sz="1050"/>
                        <a:t>that are unfavorable for the treatment arm</a:t>
                      </a:r>
                      <a:endParaRPr lang="en-US" sz="1050" strike="sngStrike"/>
                    </a:p>
                  </a:txBody>
                  <a:tcPr marL="121920" marR="121920" marT="60960" marB="60960" anchor="ctr">
                    <a:solidFill>
                      <a:srgbClr val="FF0000">
                        <a:alpha val="3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94388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F5B135B-1B07-5516-1C64-BFB78718F221}"/>
              </a:ext>
            </a:extLst>
          </p:cNvPr>
          <p:cNvSpPr txBox="1"/>
          <p:nvPr/>
        </p:nvSpPr>
        <p:spPr>
          <a:xfrm>
            <a:off x="493184" y="4991380"/>
            <a:ext cx="11145216" cy="116955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US" sz="1000" baseline="30000"/>
              <a:t>+ </a:t>
            </a:r>
            <a:r>
              <a:rPr lang="en-US" sz="1000"/>
              <a:t>The primary analysis is with RBI, or NRI when applicable, and sensitivity analysis is with OC.</a:t>
            </a:r>
          </a:p>
          <a:p>
            <a:pPr>
              <a:spcBef>
                <a:spcPts val="600"/>
              </a:spcBef>
            </a:pPr>
            <a:r>
              <a:rPr lang="en-US" sz="1000" b="1" baseline="30000"/>
              <a:t>#</a:t>
            </a:r>
            <a:r>
              <a:rPr lang="en-US" sz="1000"/>
              <a:t> Using less stringent bar of 0.05 for 1-sided p-value is due to insufficient power for detecting treatment effect that may result from 1) possibility of ~20% dropout; and 2) evolving standard for meaningful efficacy compared to study design (23% </a:t>
            </a:r>
            <a:r>
              <a:rPr lang="en-US" sz="1000">
                <a:sym typeface="Wingdings" panose="05000000000000000000" pitchFamily="2" charset="2"/>
              </a:rPr>
              <a:t> 15%)</a:t>
            </a:r>
            <a:endParaRPr lang="en-US" sz="1000" b="1"/>
          </a:p>
          <a:p>
            <a:pPr marL="0" indent="0">
              <a:spcBef>
                <a:spcPts val="600"/>
              </a:spcBef>
              <a:buNone/>
            </a:pPr>
            <a:r>
              <a:rPr lang="en-US" sz="1000"/>
              <a:t>* Key serious safety concerns include, but not limited to imbalance in t</a:t>
            </a:r>
            <a:r>
              <a:rPr lang="en-US" sz="1000" strike="noStrike"/>
              <a:t>reatment-related SAEs, t</a:t>
            </a:r>
            <a:r>
              <a:rPr lang="en-US" sz="1000"/>
              <a:t>reatment-related discontinuations, treatment-related AE with G3+, lab abnormalities with G3+, DILI/hepatoxicity, triglyceride or lipid elevations requiring discontinuation or additional lipid-lowering agents, gallbladder disease, malignancy, and SEMA-related (MACE, malignancy, secondary AKI, worsening nutritional status driving decompensation)</a:t>
            </a:r>
            <a:endParaRPr lang="en-US" sz="1000"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003401-A989-B2D6-4734-EF020EF53920}"/>
              </a:ext>
            </a:extLst>
          </p:cNvPr>
          <p:cNvSpPr txBox="1"/>
          <p:nvPr/>
        </p:nvSpPr>
        <p:spPr>
          <a:xfrm>
            <a:off x="493184" y="1385935"/>
            <a:ext cx="111630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/>
              <a:t>The Level 1 treatment effect of Triple vs Placebo and CILO/FIR vs Placebo will be evaluated in parallel procedures</a:t>
            </a:r>
          </a:p>
        </p:txBody>
      </p:sp>
    </p:spTree>
    <p:extLst>
      <p:ext uri="{BB962C8B-B14F-4D97-AF65-F5344CB8AC3E}">
        <p14:creationId xmlns:p14="http://schemas.microsoft.com/office/powerpoint/2010/main" val="2212317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Ph2b Power for Fibrosis Improv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4252" y="5928873"/>
            <a:ext cx="9633130" cy="276999"/>
          </a:xfrm>
        </p:spPr>
        <p:txBody>
          <a:bodyPr wrap="square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Clr>
                <a:srgbClr val="C00000"/>
              </a:buClr>
              <a:buNone/>
            </a:pPr>
            <a:r>
              <a:rPr lang="en-US" altLang="en-US" sz="1200"/>
              <a:t>3:2 randomization; Placebo Rate = 12%; Missing data imputed with non-responder imputation method (NRI) 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5</a:t>
            </a:fld>
            <a:endParaRPr lang="en-US" altLang="en-US"/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CA557B88-FEFB-4458-BF09-8B979BE885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295637"/>
              </p:ext>
            </p:extLst>
          </p:nvPr>
        </p:nvGraphicFramePr>
        <p:xfrm>
          <a:off x="2809976" y="2440207"/>
          <a:ext cx="6572047" cy="331293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736796">
                  <a:extLst>
                    <a:ext uri="{9D8B030D-6E8A-4147-A177-3AD203B41FA5}">
                      <a16:colId xmlns:a16="http://schemas.microsoft.com/office/drawing/2014/main" val="1316471927"/>
                    </a:ext>
                  </a:extLst>
                </a:gridCol>
                <a:gridCol w="1594741">
                  <a:extLst>
                    <a:ext uri="{9D8B030D-6E8A-4147-A177-3AD203B41FA5}">
                      <a16:colId xmlns:a16="http://schemas.microsoft.com/office/drawing/2014/main" val="3409398801"/>
                    </a:ext>
                  </a:extLst>
                </a:gridCol>
                <a:gridCol w="1620255">
                  <a:extLst>
                    <a:ext uri="{9D8B030D-6E8A-4147-A177-3AD203B41FA5}">
                      <a16:colId xmlns:a16="http://schemas.microsoft.com/office/drawing/2014/main" val="1740361579"/>
                    </a:ext>
                  </a:extLst>
                </a:gridCol>
                <a:gridCol w="1620255">
                  <a:extLst>
                    <a:ext uri="{9D8B030D-6E8A-4147-A177-3AD203B41FA5}">
                      <a16:colId xmlns:a16="http://schemas.microsoft.com/office/drawing/2014/main" val="291708676"/>
                    </a:ext>
                  </a:extLst>
                </a:gridCol>
              </a:tblGrid>
              <a:tr h="41696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ropouts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True Tx Effec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/>
                          <a:cs typeface="Calibri"/>
                        </a:rPr>
                        <a:t>1-Sided Alpha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2192866412"/>
                  </a:ext>
                </a:extLst>
              </a:tr>
              <a:tr h="416968"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ropouts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True Tx Effect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0.025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0.05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129755"/>
                  </a:ext>
                </a:extLst>
              </a:tr>
              <a:tr h="309875">
                <a:tc rowSpan="2"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0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68.7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.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703031"/>
                  </a:ext>
                </a:extLst>
              </a:tr>
              <a:tr h="309875">
                <a:tc vMerge="1"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20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88.6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71669873"/>
                  </a:ext>
                </a:extLst>
              </a:tr>
              <a:tr h="309875">
                <a:tc rowSpan="2"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65.6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23272673"/>
                  </a:ext>
                </a:extLst>
              </a:tr>
              <a:tr h="309875">
                <a:tc vMerge="1"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20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86.2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11195690"/>
                  </a:ext>
                </a:extLst>
              </a:tr>
              <a:tr h="309875">
                <a:tc rowSpan="2"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20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62.3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00FFFF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  <a:latin typeface="+mn-lt"/>
                        </a:rPr>
                        <a:t>74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91842936"/>
                  </a:ext>
                </a:extLst>
              </a:tr>
              <a:tr h="309875">
                <a:tc vMerge="1"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20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83.5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/>
                        <a:cs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90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11694180"/>
                  </a:ext>
                </a:extLst>
              </a:tr>
              <a:tr h="309875">
                <a:tc rowSpan="2"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25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5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58.9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76237622"/>
                  </a:ext>
                </a:extLst>
              </a:tr>
              <a:tr h="309875">
                <a:tc vMerge="1"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36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20%</a:t>
                      </a: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80.5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4365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DDEF487-2860-998C-CF23-02CE20D27640}"/>
              </a:ext>
            </a:extLst>
          </p:cNvPr>
          <p:cNvSpPr txBox="1"/>
          <p:nvPr/>
        </p:nvSpPr>
        <p:spPr>
          <a:xfrm>
            <a:off x="493184" y="1276202"/>
            <a:ext cx="11235267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/>
              <a:t>Using less stringent bar of 0.05 for 1-sided p-value is due to insufficient power for detecting treatment effect that may result from </a:t>
            </a:r>
          </a:p>
          <a:p>
            <a:pPr marL="342900" indent="-342900">
              <a:spcBef>
                <a:spcPts val="300"/>
              </a:spcBef>
              <a:buClr>
                <a:srgbClr val="C00000"/>
              </a:buClr>
              <a:buFont typeface="+mj-lt"/>
              <a:buAutoNum type="arabicPeriod"/>
            </a:pPr>
            <a:r>
              <a:rPr lang="en-US" sz="1400"/>
              <a:t>Possibility of ~20% dropout; and </a:t>
            </a:r>
          </a:p>
          <a:p>
            <a:pPr marL="342900" indent="-342900">
              <a:spcBef>
                <a:spcPts val="300"/>
              </a:spcBef>
              <a:buClr>
                <a:srgbClr val="C00000"/>
              </a:buClr>
              <a:buFont typeface="+mj-lt"/>
              <a:buAutoNum type="arabicPeriod"/>
            </a:pPr>
            <a:r>
              <a:rPr lang="en-US" sz="1400"/>
              <a:t>Evolving standard for meaningful efficacy compared to study design (23% </a:t>
            </a:r>
            <a:r>
              <a:rPr lang="en-US" sz="1400">
                <a:sym typeface="Wingdings" panose="05000000000000000000" pitchFamily="2" charset="2"/>
              </a:rPr>
              <a:t> 15%)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086338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3-Zone Decision Framework</a:t>
            </a:r>
            <a:endParaRPr lang="en-US" sz="20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3553" y="1862560"/>
            <a:ext cx="4969949" cy="3468537"/>
          </a:xfrm>
          <a:solidFill>
            <a:schemeClr val="accent5">
              <a:lumMod val="20000"/>
              <a:lumOff val="80000"/>
              <a:alpha val="25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txBody>
          <a:bodyPr wrap="square">
            <a:noAutofit/>
          </a:bodyPr>
          <a:lstStyle/>
          <a:p>
            <a:pPr marL="731502" lvl="1" indent="-365751" defTabSz="36575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Ø"/>
            </a:pPr>
            <a:endParaRPr lang="en-US" sz="1400">
              <a:solidFill>
                <a:schemeClr val="accent5">
                  <a:lumMod val="75000"/>
                </a:schemeClr>
              </a:solidFill>
            </a:endParaRPr>
          </a:p>
          <a:p>
            <a:pPr marL="731502" lvl="1" indent="-365751" defTabSz="36575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1400">
                <a:solidFill>
                  <a:schemeClr val="accent5">
                    <a:lumMod val="75000"/>
                  </a:schemeClr>
                </a:solidFill>
              </a:rPr>
              <a:t>TV</a:t>
            </a:r>
            <a:r>
              <a:rPr lang="en-US" sz="1400"/>
              <a:t>: </a:t>
            </a:r>
            <a:r>
              <a:rPr lang="en-US" sz="1400" b="1"/>
              <a:t>T</a:t>
            </a:r>
            <a:r>
              <a:rPr lang="en-US" sz="1400"/>
              <a:t>arget </a:t>
            </a:r>
            <a:r>
              <a:rPr lang="en-US" sz="1400" b="1"/>
              <a:t>V</a:t>
            </a:r>
            <a:r>
              <a:rPr lang="en-US" sz="1400"/>
              <a:t>alue of treatment effect</a:t>
            </a:r>
          </a:p>
          <a:p>
            <a:pPr marL="1097253" lvl="2" indent="-365751" defTabSz="365751">
              <a:lnSpc>
                <a:spcPct val="100000"/>
              </a:lnSpc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−"/>
            </a:pPr>
            <a:r>
              <a:rPr lang="en-US" altLang="en-US" sz="1200"/>
              <a:t>Usually linked to TPP and is commercial driven</a:t>
            </a:r>
          </a:p>
          <a:p>
            <a:pPr marL="731502" lvl="1" indent="-365751" defTabSz="36575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1400">
                <a:solidFill>
                  <a:schemeClr val="accent5">
                    <a:lumMod val="75000"/>
                  </a:schemeClr>
                </a:solidFill>
              </a:rPr>
              <a:t>LRV</a:t>
            </a:r>
            <a:r>
              <a:rPr lang="en-US" sz="1400"/>
              <a:t>: </a:t>
            </a:r>
            <a:r>
              <a:rPr lang="en-US" sz="1400" b="1"/>
              <a:t>L</a:t>
            </a:r>
            <a:r>
              <a:rPr lang="en-US" sz="1400"/>
              <a:t>ower </a:t>
            </a:r>
            <a:r>
              <a:rPr lang="en-US" sz="1400" b="1"/>
              <a:t>R</a:t>
            </a:r>
            <a:r>
              <a:rPr lang="en-US" sz="1400"/>
              <a:t>eference </a:t>
            </a:r>
            <a:r>
              <a:rPr lang="en-US" sz="1400" b="1"/>
              <a:t>V</a:t>
            </a:r>
            <a:r>
              <a:rPr lang="en-US" sz="1400"/>
              <a:t>alue of treatment effect</a:t>
            </a:r>
          </a:p>
          <a:p>
            <a:pPr marL="1097253" lvl="2" indent="-365751" defTabSz="365751">
              <a:lnSpc>
                <a:spcPct val="100000"/>
              </a:lnSpc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−"/>
            </a:pPr>
            <a:r>
              <a:rPr lang="en-US" altLang="en-US" sz="1200"/>
              <a:t>Minimum accepted value</a:t>
            </a:r>
          </a:p>
          <a:p>
            <a:pPr marL="1097253" lvl="2" indent="-365751" defTabSz="36575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−"/>
            </a:pPr>
            <a:endParaRPr lang="en-US" altLang="en-US" sz="1200"/>
          </a:p>
          <a:p>
            <a:pPr marL="731502" lvl="1" indent="-365751" defTabSz="36575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en-US" altLang="en-US" sz="1400">
                <a:solidFill>
                  <a:schemeClr val="accent5">
                    <a:lumMod val="75000"/>
                  </a:schemeClr>
                </a:solidFill>
                <a:ea typeface="Cambria Math" panose="02040503050406030204" pitchFamily="18" charset="0"/>
              </a:rPr>
              <a:t>“False go” rate</a:t>
            </a:r>
            <a:endParaRPr lang="en-US" sz="1400">
              <a:solidFill>
                <a:schemeClr val="accent5">
                  <a:lumMod val="75000"/>
                </a:schemeClr>
              </a:solidFill>
            </a:endParaRPr>
          </a:p>
          <a:p>
            <a:pPr marL="1097253" lvl="2" indent="-365751" defTabSz="36575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−"/>
            </a:pPr>
            <a:r>
              <a:rPr lang="en-US" altLang="en-US" sz="1200"/>
              <a:t>Go decision when true effect is LRV or worse</a:t>
            </a:r>
          </a:p>
          <a:p>
            <a:pPr marL="1097253" lvl="2" indent="-365751" defTabSz="36575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−"/>
            </a:pPr>
            <a:r>
              <a:rPr lang="en-US" altLang="en-US" sz="1200"/>
              <a:t>Lower bound of 1-sided CI</a:t>
            </a:r>
          </a:p>
          <a:p>
            <a:pPr marL="731502" lvl="1" indent="-365751" defTabSz="36575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en-US" altLang="en-US" sz="1400">
                <a:solidFill>
                  <a:schemeClr val="accent5">
                    <a:lumMod val="75000"/>
                  </a:schemeClr>
                </a:solidFill>
                <a:ea typeface="Cambria Math" panose="02040503050406030204" pitchFamily="18" charset="0"/>
              </a:rPr>
              <a:t>“False stop” rate</a:t>
            </a:r>
            <a:endParaRPr lang="en-US" sz="1400">
              <a:solidFill>
                <a:schemeClr val="accent5">
                  <a:lumMod val="75000"/>
                </a:schemeClr>
              </a:solidFill>
            </a:endParaRPr>
          </a:p>
          <a:p>
            <a:pPr marL="1097253" lvl="2" indent="-365751" defTabSz="36575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−"/>
            </a:pPr>
            <a:r>
              <a:rPr lang="en-US" altLang="en-US" sz="1200"/>
              <a:t>Stop decision when true effect is TV or better</a:t>
            </a:r>
          </a:p>
          <a:p>
            <a:pPr marL="1097253" lvl="2" indent="-365751" defTabSz="36575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−"/>
            </a:pPr>
            <a:r>
              <a:rPr lang="en-US" altLang="en-US" sz="1200"/>
              <a:t>Upper bound of 1-sided CI</a:t>
            </a:r>
            <a:endParaRPr lang="en-US" altLang="en-US" sz="1600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6</a:t>
            </a:fld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B197580-E755-4BC2-9549-8D8158739995}"/>
              </a:ext>
            </a:extLst>
          </p:cNvPr>
          <p:cNvSpPr/>
          <p:nvPr/>
        </p:nvSpPr>
        <p:spPr>
          <a:xfrm>
            <a:off x="1037065" y="1815963"/>
            <a:ext cx="448734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spAutoFit/>
          </a:bodyPr>
          <a:lstStyle/>
          <a:p>
            <a:pPr algn="ctr" defTabSz="365751">
              <a:spcBef>
                <a:spcPts val="3200"/>
              </a:spcBef>
              <a:buClr>
                <a:srgbClr val="C00000"/>
              </a:buClr>
            </a:pPr>
            <a:r>
              <a:rPr lang="en-US" altLang="en-US" sz="1600"/>
              <a:t>Compares confidence interval (CI) to TV/LRV</a:t>
            </a:r>
            <a:endParaRPr lang="en-US" sz="160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B09FF11-31A0-4A34-90A2-98BDD4076CEA}"/>
              </a:ext>
            </a:extLst>
          </p:cNvPr>
          <p:cNvSpPr txBox="1">
            <a:spLocks/>
          </p:cNvSpPr>
          <p:nvPr/>
        </p:nvSpPr>
        <p:spPr bwMode="auto">
          <a:xfrm>
            <a:off x="6534377" y="1628466"/>
            <a:ext cx="1769560" cy="369332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  <a:alpha val="51000"/>
                </a:schemeClr>
              </a:gs>
              <a:gs pos="50000">
                <a:schemeClr val="accent5">
                  <a:lumMod val="40000"/>
                  <a:lumOff val="60000"/>
                  <a:alpha val="51000"/>
                </a:schemeClr>
              </a:gs>
              <a:gs pos="99000">
                <a:schemeClr val="accent5">
                  <a:lumMod val="20000"/>
                  <a:lumOff val="80000"/>
                  <a:alpha val="50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noAutofit/>
          </a:bodyPr>
          <a:lstStyle>
            <a:lvl1pPr marL="230188" indent="-230188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61963" indent="-231775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charset="0"/>
              <a:buChar char="–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4213" indent="-222250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4400" indent="-230188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230188" algn="l" defTabSz="684213" rtl="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4753" indent="-171342" algn="l" defTabSz="6853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7437" indent="-171342" algn="l" defTabSz="6853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0119" indent="-171342" algn="l" defTabSz="6853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2801" indent="-171342" algn="l" defTabSz="6853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100000"/>
              </a:lnSpc>
              <a:spcBef>
                <a:spcPts val="2400"/>
              </a:spcBef>
              <a:buClr>
                <a:srgbClr val="C00000"/>
              </a:buClr>
              <a:buNone/>
            </a:pPr>
            <a:r>
              <a:rPr lang="en-US" altLang="en-US" sz="1600">
                <a:solidFill>
                  <a:schemeClr val="accent5">
                    <a:lumMod val="75000"/>
                  </a:schemeClr>
                </a:solidFill>
              </a:rPr>
              <a:t>Key Paramete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7FF91E3-CD27-48EB-80BD-A048E80A2BA1}"/>
              </a:ext>
            </a:extLst>
          </p:cNvPr>
          <p:cNvSpPr/>
          <p:nvPr/>
        </p:nvSpPr>
        <p:spPr>
          <a:xfrm>
            <a:off x="6675233" y="2119778"/>
            <a:ext cx="4411456" cy="1129820"/>
          </a:xfrm>
          <a:prstGeom prst="rect">
            <a:avLst/>
          </a:prstGeom>
          <a:noFill/>
          <a:ln>
            <a:solidFill>
              <a:srgbClr val="00B050">
                <a:alpha val="40000"/>
              </a:srgb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AB5D1AA-D6D2-483D-A4B5-D038D3B911D6}"/>
              </a:ext>
            </a:extLst>
          </p:cNvPr>
          <p:cNvSpPr/>
          <p:nvPr/>
        </p:nvSpPr>
        <p:spPr>
          <a:xfrm>
            <a:off x="6675233" y="3498186"/>
            <a:ext cx="4411456" cy="1573449"/>
          </a:xfrm>
          <a:prstGeom prst="rect">
            <a:avLst/>
          </a:prstGeom>
          <a:noFill/>
          <a:ln>
            <a:solidFill>
              <a:srgbClr val="00B050">
                <a:alpha val="40000"/>
              </a:srgb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73319A09-0729-455D-A36F-BC68152CFA85}"/>
              </a:ext>
            </a:extLst>
          </p:cNvPr>
          <p:cNvSpPr/>
          <p:nvPr/>
        </p:nvSpPr>
        <p:spPr>
          <a:xfrm>
            <a:off x="9967660" y="5356943"/>
            <a:ext cx="1760792" cy="577084"/>
          </a:xfrm>
          <a:prstGeom prst="wedgeRoundRectCallout">
            <a:avLst>
              <a:gd name="adj1" fmla="val -43056"/>
              <a:gd name="adj2" fmla="val -126109"/>
              <a:gd name="adj3" fmla="val 16667"/>
            </a:avLst>
          </a:prstGeom>
          <a:solidFill>
            <a:schemeClr val="accent5">
              <a:lumMod val="20000"/>
              <a:lumOff val="80000"/>
              <a:alpha val="30000"/>
            </a:schemeClr>
          </a:solidFill>
          <a:ln>
            <a:solidFill>
              <a:srgbClr val="00B050">
                <a:alpha val="40000"/>
              </a:srgb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65751">
              <a:spcBef>
                <a:spcPts val="800"/>
              </a:spcBef>
              <a:buClr>
                <a:schemeClr val="accent5">
                  <a:lumMod val="75000"/>
                </a:schemeClr>
              </a:buClr>
            </a:pPr>
            <a:r>
              <a:rPr lang="en-US" altLang="en-US" sz="1300">
                <a:solidFill>
                  <a:schemeClr val="accent5">
                    <a:lumMod val="75000"/>
                  </a:schemeClr>
                </a:solidFill>
              </a:rPr>
              <a:t>The risk that the team could tolerate</a:t>
            </a:r>
          </a:p>
        </p:txBody>
      </p:sp>
      <p:pic>
        <p:nvPicPr>
          <p:cNvPr id="5" name="Picture 4" descr="Chart&#10;&#10;Description automatically generated">
            <a:extLst>
              <a:ext uri="{FF2B5EF4-FFF2-40B4-BE49-F238E27FC236}">
                <a16:creationId xmlns:a16="http://schemas.microsoft.com/office/drawing/2014/main" id="{0B8BF643-6795-9EC1-5A9C-7949FB03B8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498" y="2384954"/>
            <a:ext cx="4875581" cy="314553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DB3EAA-70DE-9704-5D79-EEF16D3F8E0C}"/>
              </a:ext>
            </a:extLst>
          </p:cNvPr>
          <p:cNvSpPr/>
          <p:nvPr/>
        </p:nvSpPr>
        <p:spPr>
          <a:xfrm>
            <a:off x="848498" y="4324074"/>
            <a:ext cx="4875580" cy="791853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728EE6-EFDA-4871-5787-2897AC6E78BF}"/>
              </a:ext>
            </a:extLst>
          </p:cNvPr>
          <p:cNvSpPr/>
          <p:nvPr/>
        </p:nvSpPr>
        <p:spPr>
          <a:xfrm>
            <a:off x="848498" y="2457568"/>
            <a:ext cx="4875580" cy="874979"/>
          </a:xfrm>
          <a:prstGeom prst="rect">
            <a:avLst/>
          </a:prstGeom>
          <a:solidFill>
            <a:srgbClr val="00B050">
              <a:alpha val="2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904CFE-EB09-EBC0-1583-3C0C9C89B540}"/>
              </a:ext>
            </a:extLst>
          </p:cNvPr>
          <p:cNvSpPr txBox="1"/>
          <p:nvPr/>
        </p:nvSpPr>
        <p:spPr>
          <a:xfrm>
            <a:off x="1489434" y="2555807"/>
            <a:ext cx="251695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If could be at least as  good as TV and likely to be better than </a:t>
            </a:r>
            <a:r>
              <a:rPr lang="en-US" sz="1100">
                <a:solidFill>
                  <a:srgbClr val="00B050"/>
                </a:solidFill>
              </a:rPr>
              <a:t>LRV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068339-F804-81CE-22A0-8BCDD2B2D65B}"/>
              </a:ext>
            </a:extLst>
          </p:cNvPr>
          <p:cNvSpPr txBox="1"/>
          <p:nvPr/>
        </p:nvSpPr>
        <p:spPr>
          <a:xfrm>
            <a:off x="2992767" y="4628939"/>
            <a:ext cx="2465227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defTabSz="914400" eaLnBrk="1" hangingPunct="1">
              <a:spcBef>
                <a:spcPct val="20000"/>
              </a:spcBef>
              <a:defRPr/>
            </a:pPr>
            <a:r>
              <a:rPr lang="en-US" sz="1100">
                <a:solidFill>
                  <a:srgbClr val="FF0000"/>
                </a:solidFill>
                <a:latin typeface="Arial"/>
                <a:cs typeface="Arial"/>
              </a:rPr>
              <a:t>If could be at least as worse as LRV and unlikely to achieve TV, then stop</a:t>
            </a:r>
          </a:p>
        </p:txBody>
      </p:sp>
    </p:spTree>
    <p:extLst>
      <p:ext uri="{BB962C8B-B14F-4D97-AF65-F5344CB8AC3E}">
        <p14:creationId xmlns:p14="http://schemas.microsoft.com/office/powerpoint/2010/main" val="3151860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  <p:bldP spid="4" grpId="0" animBg="1"/>
      <p:bldP spid="8" grpId="0" animBg="1"/>
      <p:bldP spid="12" grpId="0" animBg="1"/>
      <p:bldP spid="14" grpId="0" animBg="1"/>
      <p:bldP spid="15" grpId="0" animBg="1"/>
      <p:bldP spid="6" grpId="0" animBg="1"/>
      <p:bldP spid="7" grpId="0" animBg="1"/>
      <p:bldP spid="9" grpId="0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3-Zone Decision Method </a:t>
            </a:r>
            <a:r>
              <a:rPr lang="en-US" sz="2000"/>
              <a:t>– Fibrosis Improvement w/o worsening of NASH</a:t>
            </a:r>
            <a:r>
              <a:rPr lang="en-US" sz="3200"/>
              <a:t> 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7</a:t>
            </a:fld>
            <a:endParaRPr lang="en-US" altLang="en-US"/>
          </a:p>
        </p:txBody>
      </p:sp>
      <p:graphicFrame>
        <p:nvGraphicFramePr>
          <p:cNvPr id="12" name="Table 5">
            <a:extLst>
              <a:ext uri="{FF2B5EF4-FFF2-40B4-BE49-F238E27FC236}">
                <a16:creationId xmlns:a16="http://schemas.microsoft.com/office/drawing/2014/main" id="{88A3FAB2-4CED-4E52-8A79-C10A74019B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5400325"/>
              </p:ext>
            </p:extLst>
          </p:nvPr>
        </p:nvGraphicFramePr>
        <p:xfrm>
          <a:off x="6242053" y="2286794"/>
          <a:ext cx="5529005" cy="244524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865744">
                  <a:extLst>
                    <a:ext uri="{9D8B030D-6E8A-4147-A177-3AD203B41FA5}">
                      <a16:colId xmlns:a16="http://schemas.microsoft.com/office/drawing/2014/main" val="3846037156"/>
                    </a:ext>
                  </a:extLst>
                </a:gridCol>
                <a:gridCol w="649705">
                  <a:extLst>
                    <a:ext uri="{9D8B030D-6E8A-4147-A177-3AD203B41FA5}">
                      <a16:colId xmlns:a16="http://schemas.microsoft.com/office/drawing/2014/main" val="3416087546"/>
                    </a:ext>
                  </a:extLst>
                </a:gridCol>
                <a:gridCol w="649705">
                  <a:extLst>
                    <a:ext uri="{9D8B030D-6E8A-4147-A177-3AD203B41FA5}">
                      <a16:colId xmlns:a16="http://schemas.microsoft.com/office/drawing/2014/main" val="2679054727"/>
                    </a:ext>
                  </a:extLst>
                </a:gridCol>
                <a:gridCol w="1032220">
                  <a:extLst>
                    <a:ext uri="{9D8B030D-6E8A-4147-A177-3AD203B41FA5}">
                      <a16:colId xmlns:a16="http://schemas.microsoft.com/office/drawing/2014/main" val="1557069246"/>
                    </a:ext>
                  </a:extLst>
                </a:gridCol>
                <a:gridCol w="677423">
                  <a:extLst>
                    <a:ext uri="{9D8B030D-6E8A-4147-A177-3AD203B41FA5}">
                      <a16:colId xmlns:a16="http://schemas.microsoft.com/office/drawing/2014/main" val="164722684"/>
                    </a:ext>
                  </a:extLst>
                </a:gridCol>
                <a:gridCol w="677423">
                  <a:extLst>
                    <a:ext uri="{9D8B030D-6E8A-4147-A177-3AD203B41FA5}">
                      <a16:colId xmlns:a16="http://schemas.microsoft.com/office/drawing/2014/main" val="2241095212"/>
                    </a:ext>
                  </a:extLst>
                </a:gridCol>
                <a:gridCol w="976785">
                  <a:extLst>
                    <a:ext uri="{9D8B030D-6E8A-4147-A177-3AD203B41FA5}">
                      <a16:colId xmlns:a16="http://schemas.microsoft.com/office/drawing/2014/main" val="3900861239"/>
                    </a:ext>
                  </a:extLst>
                </a:gridCol>
              </a:tblGrid>
              <a:tr h="379012">
                <a:tc rowSpan="2"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sp in Placebo</a:t>
                      </a:r>
                    </a:p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N = 80)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s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reatment Effect vs PBO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 of Success (</a:t>
                      </a:r>
                      <a:r>
                        <a:rPr 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</a:t>
                      </a: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* of Ph3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0922074"/>
                  </a:ext>
                </a:extLst>
              </a:tr>
              <a:tr h="417324">
                <a:tc vMerge="1"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cebo Resp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-Go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≤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</a:t>
                      </a:r>
                    </a:p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Sided P ≤ 0.05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-Go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≤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</a:t>
                      </a:r>
                    </a:p>
                    <a:p>
                      <a:pPr marL="0" marR="0" lvl="0" indent="0" algn="ctr" defTabSz="9137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Sided P ≤ 0.05</a:t>
                      </a:r>
                    </a:p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≥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135496"/>
                  </a:ext>
                </a:extLst>
              </a:tr>
              <a:tr h="3297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 10.0%)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5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1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4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317812"/>
                  </a:ext>
                </a:extLst>
              </a:tr>
              <a:tr h="3297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 12.5%)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2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1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254469"/>
                  </a:ext>
                </a:extLst>
              </a:tr>
              <a:tr h="3297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 15.0%)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4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5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3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760289"/>
                  </a:ext>
                </a:extLst>
              </a:tr>
              <a:tr h="3297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 20.0%)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9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1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945269"/>
                  </a:ext>
                </a:extLst>
              </a:tr>
              <a:tr h="3297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 25.0%)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3300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7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6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68968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44F7D7D-4C1A-CCF5-859A-A3F02C182D9E}"/>
              </a:ext>
            </a:extLst>
          </p:cNvPr>
          <p:cNvSpPr txBox="1"/>
          <p:nvPr/>
        </p:nvSpPr>
        <p:spPr>
          <a:xfrm>
            <a:off x="1220621" y="5734965"/>
            <a:ext cx="10207413" cy="746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>
                <a:srgbClr val="C00000"/>
              </a:buClr>
              <a:buNone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LRV = 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  <a:sym typeface="Symbol" panose="05050102010706020507" pitchFamily="18" charset="2"/>
              </a:rPr>
              <a:t>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8%,  TV = 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  <a:sym typeface="Symbol" panose="05050102010706020507" pitchFamily="18" charset="2"/>
              </a:rPr>
              <a:t>15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%; false-go = 0.1, false-stop = 0.05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; decisions are based on observed data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buClr>
                <a:srgbClr val="C00000"/>
              </a:buClr>
              <a:buNone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*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Po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 was computed using Bayesian method to estimate the likelihood of success of the Ph3 study using data observed from current Ph</a:t>
            </a:r>
            <a:r>
              <a:rPr lang="en-US" sz="1000">
                <a:latin typeface="Arial" charset="0"/>
              </a:rPr>
              <a:t>2, where Ph2 was with sample size of 120:80 and 20% dropout, and Ph3 assumes the following design: N = 488, 3:2 randomization, 10% dropout and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2-sided alpha = 0.01. Missing data were imputed with NRI method. Beta priors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i.e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 Beta(0.12, 0.88) and Beta(0.22, 0.78) for response rates in placebo and treatment, respectively, were consider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DA8064-B539-7EE5-6760-294AE0D11E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548" y="1654764"/>
            <a:ext cx="5486400" cy="3540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371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Level 2 Go/No-Go Criteria </a:t>
            </a:r>
            <a:r>
              <a:rPr lang="en-US" sz="2000"/>
              <a:t>(Procedure for Triple vs PBO)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8</a:t>
            </a:fld>
            <a:endParaRPr lang="en-US" altLang="en-US"/>
          </a:p>
        </p:txBody>
      </p:sp>
      <p:graphicFrame>
        <p:nvGraphicFramePr>
          <p:cNvPr id="3" name="Table 8">
            <a:extLst>
              <a:ext uri="{FF2B5EF4-FFF2-40B4-BE49-F238E27FC236}">
                <a16:creationId xmlns:a16="http://schemas.microsoft.com/office/drawing/2014/main" id="{1BB599FD-6071-5C0B-0CCF-0A8634E749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8770449"/>
              </p:ext>
            </p:extLst>
          </p:nvPr>
        </p:nvGraphicFramePr>
        <p:xfrm>
          <a:off x="1998496" y="1543568"/>
          <a:ext cx="8019022" cy="3770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1848">
                  <a:extLst>
                    <a:ext uri="{9D8B030D-6E8A-4147-A177-3AD203B41FA5}">
                      <a16:colId xmlns:a16="http://schemas.microsoft.com/office/drawing/2014/main" val="1351508705"/>
                    </a:ext>
                  </a:extLst>
                </a:gridCol>
                <a:gridCol w="6027174">
                  <a:extLst>
                    <a:ext uri="{9D8B030D-6E8A-4147-A177-3AD203B41FA5}">
                      <a16:colId xmlns:a16="http://schemas.microsoft.com/office/drawing/2014/main" val="1545050236"/>
                    </a:ext>
                  </a:extLst>
                </a:gridCol>
              </a:tblGrid>
              <a:tr h="368160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121920" marR="121920" marT="60960" marB="6096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Consider Criteria – Consistency Across Biomarkers</a:t>
                      </a:r>
                    </a:p>
                  </a:txBody>
                  <a:tcPr marL="121920" marR="121920" marT="60960" marB="6096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510116"/>
                  </a:ext>
                </a:extLst>
              </a:tr>
              <a:tr h="1321122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/>
                        <a:t>Histologic endpoints</a:t>
                      </a:r>
                    </a:p>
                  </a:txBody>
                  <a:tcPr marL="121920" marR="121920" marT="60960" marB="6096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7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Consistent change with at least one of the following with 1-sided p </a:t>
                      </a:r>
                      <a:r>
                        <a:rPr lang="en-US" sz="1000" b="1"/>
                        <a:t>≤ 0.05</a:t>
                      </a:r>
                      <a:r>
                        <a:rPr lang="en-US" sz="1000" baseline="30000"/>
                        <a:t>+</a:t>
                      </a:r>
                      <a:endParaRPr lang="en-US" sz="1000" b="1"/>
                    </a:p>
                    <a:p>
                      <a:pPr marL="182880" marR="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>
                          <a:solidFill>
                            <a:srgbClr val="0070C0"/>
                          </a:solidFill>
                        </a:rPr>
                        <a:t>Fibrosis improvement in PathAI AIM-NASH CRN </a:t>
                      </a: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final score, % responders)</a:t>
                      </a:r>
                    </a:p>
                    <a:p>
                      <a:pPr marL="182880" marR="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n-US" sz="1000" b="0" i="0" u="none" strike="noStrike" noProof="0">
                          <a:solidFill>
                            <a:srgbClr val="0070C0"/>
                          </a:solidFill>
                          <a:latin typeface="Arial"/>
                        </a:rPr>
                        <a:t>PathAI proportion of fibrosis area over tissue</a:t>
                      </a:r>
                    </a:p>
                  </a:txBody>
                  <a:tcPr marL="121920" marR="121920" marT="60960" marB="60960" anchor="ctr">
                    <a:solidFill>
                      <a:srgbClr val="FFC000">
                        <a:alpha val="3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507825"/>
                  </a:ext>
                </a:extLst>
              </a:tr>
              <a:tr h="312865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121920" marR="121920" marT="60960" marB="60960" anchor="ctr">
                    <a:solidFill>
                      <a:schemeClr val="bg1">
                        <a:lumMod val="8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- OR </a:t>
                      </a:r>
                      <a:endParaRPr lang="en-US" b="1">
                        <a:solidFill>
                          <a:srgbClr val="FF0000"/>
                        </a:solidFill>
                      </a:endParaRPr>
                    </a:p>
                  </a:txBody>
                  <a:tcPr marL="121920" marR="121920" marT="60960" marB="60960" anchor="ctr">
                    <a:solidFill>
                      <a:srgbClr val="FFC000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405199"/>
                  </a:ext>
                </a:extLst>
              </a:tr>
              <a:tr h="1768716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/>
                        <a:t>Orthogonal Measures of Fibrosis Improvement</a:t>
                      </a:r>
                    </a:p>
                  </a:txBody>
                  <a:tcPr marL="121920" marR="121920" marT="60960" marB="6096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Consistent change with at least two of the following with 1-sided p </a:t>
                      </a:r>
                      <a:r>
                        <a:rPr lang="en-US" sz="1000" b="1"/>
                        <a:t>≤ 0.05</a:t>
                      </a:r>
                      <a:r>
                        <a:rPr lang="en-US" sz="1000" baseline="30000"/>
                        <a:t>+</a:t>
                      </a:r>
                      <a:endParaRPr lang="en-US" sz="1000"/>
                    </a:p>
                    <a:p>
                      <a:pPr marL="182880" marR="0" lvl="0" indent="-182880"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>
                          <a:solidFill>
                            <a:srgbClr val="0070C0"/>
                          </a:solidFill>
                        </a:rPr>
                        <a:t>ELF</a:t>
                      </a: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: ≥ 0.5 reduction</a:t>
                      </a:r>
                      <a:r>
                        <a:rPr lang="en-US" sz="1000" baseline="30000">
                          <a:solidFill>
                            <a:schemeClr val="tx1"/>
                          </a:solidFill>
                        </a:rPr>
                        <a:t>1 </a:t>
                      </a: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more patients with improvement in %) or ≥ 0.5 increase</a:t>
                      </a:r>
                      <a:r>
                        <a:rPr lang="en-US" sz="1000" baseline="30000">
                          <a:solidFill>
                            <a:schemeClr val="tx1"/>
                          </a:solidFill>
                        </a:rPr>
                        <a:t>1 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less patients with worsening in %) </a:t>
                      </a:r>
                    </a:p>
                    <a:p>
                      <a:pPr marL="182880" marR="0" lvl="0" indent="-182880"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FIB-4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≥ 15% relative reduction </a:t>
                      </a: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% responders)</a:t>
                      </a:r>
                      <a:endParaRPr lang="en-US" sz="1865">
                        <a:solidFill>
                          <a:schemeClr val="dk1"/>
                        </a:solidFill>
                      </a:endParaRPr>
                    </a:p>
                    <a:p>
                      <a:pPr marL="182880" marR="0" lvl="0" indent="-182880"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>
                          <a:solidFill>
                            <a:srgbClr val="0070C0"/>
                          </a:solidFill>
                        </a:rPr>
                        <a:t>LS by FibroScan</a:t>
                      </a: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: ≥ 5 kPa reduction</a:t>
                      </a:r>
                      <a:r>
                        <a:rPr lang="en-US" sz="1000" baseline="3000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 (% responders)</a:t>
                      </a:r>
                      <a:r>
                        <a:rPr lang="en-US" sz="1000">
                          <a:solidFill>
                            <a:schemeClr val="dk1"/>
                          </a:solidFill>
                        </a:rPr>
                        <a:t> or </a:t>
                      </a: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≥ 20% relative reduction</a:t>
                      </a:r>
                      <a:r>
                        <a:rPr lang="en-US" sz="1000" baseline="3000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en-US" sz="1000" baseline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% responders</a:t>
                      </a: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marL="182880" marR="0" lvl="0" indent="-182880" algn="l" defTabSz="91379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strike="noStrike">
                          <a:solidFill>
                            <a:srgbClr val="0070C0"/>
                          </a:solidFill>
                        </a:rPr>
                        <a:t>SomaSignal fibrosis test changes vs. Placebo </a:t>
                      </a:r>
                      <a:r>
                        <a:rPr lang="en-US" sz="1000" strike="noStrike" baseline="30000">
                          <a:solidFill>
                            <a:schemeClr val="tx1"/>
                          </a:solidFill>
                        </a:rPr>
                        <a:t>3, 4</a:t>
                      </a:r>
                      <a:endParaRPr lang="en-US" sz="1000"/>
                    </a:p>
                  </a:txBody>
                  <a:tcPr marL="121920" marR="121920" marT="60960" marB="60960" anchor="ctr">
                    <a:solidFill>
                      <a:srgbClr val="FFC000">
                        <a:alpha val="3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00290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402B536-6F4B-0BC0-5718-266C9D08A38C}"/>
              </a:ext>
            </a:extLst>
          </p:cNvPr>
          <p:cNvSpPr txBox="1"/>
          <p:nvPr/>
        </p:nvSpPr>
        <p:spPr>
          <a:xfrm>
            <a:off x="1892619" y="5915769"/>
            <a:ext cx="76460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900" baseline="30000"/>
              <a:t>+ </a:t>
            </a:r>
            <a:r>
              <a:rPr lang="en-US" sz="900"/>
              <a:t>For primary analysis (with RBI or NRI) or secondary analysis (with OC)</a:t>
            </a:r>
          </a:p>
          <a:p>
            <a:r>
              <a:rPr lang="en-US" sz="900" baseline="30000"/>
              <a:t>1</a:t>
            </a:r>
            <a:r>
              <a:rPr lang="en-US" sz="900"/>
              <a:t> Sanyal et al 2021; </a:t>
            </a:r>
            <a:r>
              <a:rPr lang="en-US" sz="900" baseline="30000"/>
              <a:t>2</a:t>
            </a:r>
            <a:r>
              <a:rPr lang="en-US" sz="900"/>
              <a:t> Loomba et al 2022; </a:t>
            </a:r>
            <a:r>
              <a:rPr lang="en-US" sz="900" baseline="30000"/>
              <a:t>3</a:t>
            </a:r>
            <a:r>
              <a:rPr lang="en-US" sz="900"/>
              <a:t> Vali et al. 2023; </a:t>
            </a:r>
            <a:r>
              <a:rPr lang="en-US" sz="900" baseline="30000"/>
              <a:t>4</a:t>
            </a:r>
            <a:r>
              <a:rPr lang="en-US" sz="900"/>
              <a:t> Sanyal et al. 2023; </a:t>
            </a:r>
            <a:r>
              <a:rPr lang="en-US" sz="900" baseline="30000"/>
              <a:t>5</a:t>
            </a:r>
            <a:r>
              <a:rPr lang="en-US" sz="900"/>
              <a:t> Sanyal et al. 2023 </a:t>
            </a:r>
          </a:p>
        </p:txBody>
      </p:sp>
    </p:spTree>
    <p:extLst>
      <p:ext uri="{BB962C8B-B14F-4D97-AF65-F5344CB8AC3E}">
        <p14:creationId xmlns:p14="http://schemas.microsoft.com/office/powerpoint/2010/main" val="27616665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184" y="328084"/>
            <a:ext cx="11235267" cy="787400"/>
          </a:xfrm>
        </p:spPr>
        <p:txBody>
          <a:bodyPr/>
          <a:lstStyle/>
          <a:p>
            <a:pPr defTabSz="913798" fontAlgn="auto">
              <a:spcAft>
                <a:spcPts val="0"/>
              </a:spcAft>
              <a:defRPr/>
            </a:pPr>
            <a:r>
              <a:rPr lang="en-US" sz="3200"/>
              <a:t>Level 2 Go/No-Go Criteria </a:t>
            </a:r>
            <a:r>
              <a:rPr lang="en-US" sz="2000"/>
              <a:t>(Procedure for CILO/FIR vs PBO)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85F299A-EB3D-4B87-AA0D-4370D3C4E2F6}" type="slidenum">
              <a:rPr lang="en-US" altLang="en-US"/>
              <a:pPr/>
              <a:t>9</a:t>
            </a:fld>
            <a:endParaRPr lang="en-US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402B536-6F4B-0BC0-5718-266C9D08A38C}"/>
              </a:ext>
            </a:extLst>
          </p:cNvPr>
          <p:cNvSpPr txBox="1"/>
          <p:nvPr/>
        </p:nvSpPr>
        <p:spPr>
          <a:xfrm>
            <a:off x="3158848" y="6259337"/>
            <a:ext cx="60033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900" baseline="30000"/>
              <a:t>+ </a:t>
            </a:r>
            <a:r>
              <a:rPr lang="en-US" sz="900"/>
              <a:t>For primary analysis (with RBI or NRI) or secondary analysis (with OC)</a:t>
            </a:r>
          </a:p>
          <a:p>
            <a:r>
              <a:rPr lang="en-US" sz="900" baseline="30000"/>
              <a:t>1</a:t>
            </a:r>
            <a:r>
              <a:rPr lang="en-US" sz="900"/>
              <a:t> Sanyal et al 2021; </a:t>
            </a:r>
            <a:r>
              <a:rPr lang="en-US" sz="900" baseline="30000"/>
              <a:t>2</a:t>
            </a:r>
            <a:r>
              <a:rPr lang="en-US" sz="900"/>
              <a:t> Loomba et al 2022; </a:t>
            </a:r>
            <a:r>
              <a:rPr lang="en-US" sz="900" baseline="30000"/>
              <a:t>3</a:t>
            </a:r>
            <a:r>
              <a:rPr lang="en-US" sz="900"/>
              <a:t> Vali et al. 2023; </a:t>
            </a:r>
            <a:r>
              <a:rPr lang="en-US" sz="900" baseline="30000"/>
              <a:t>4</a:t>
            </a:r>
            <a:r>
              <a:rPr lang="en-US" sz="900"/>
              <a:t> Sanyal et al. 2023; </a:t>
            </a:r>
            <a:r>
              <a:rPr lang="en-US" sz="900" baseline="30000"/>
              <a:t>5</a:t>
            </a:r>
            <a:r>
              <a:rPr lang="en-US" sz="900"/>
              <a:t> Sanyal et al. 2023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12C514-1207-0691-263F-F3BC2ACE7F17}"/>
              </a:ext>
            </a:extLst>
          </p:cNvPr>
          <p:cNvSpPr txBox="1"/>
          <p:nvPr/>
        </p:nvSpPr>
        <p:spPr>
          <a:xfrm>
            <a:off x="734884" y="2939296"/>
            <a:ext cx="5065266" cy="605294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defTabSz="913798">
              <a:defRPr/>
            </a:pPr>
            <a:r>
              <a:rPr lang="en-US" sz="1000" b="1"/>
              <a:t>Confirmation with at least one of the following with 1-sided p ≤ 0.05</a:t>
            </a:r>
            <a:r>
              <a:rPr lang="en-US" sz="700" baseline="30000"/>
              <a:t>+</a:t>
            </a:r>
            <a:endParaRPr lang="en-US" sz="700"/>
          </a:p>
          <a:p>
            <a:pPr marL="182880" indent="-182880" defTabSz="913798">
              <a:spcBef>
                <a:spcPts val="200"/>
              </a:spcBef>
              <a:buFont typeface="Arial,Sans-Serif"/>
              <a:buChar char="•"/>
              <a:defRPr/>
            </a:pPr>
            <a:r>
              <a:rPr lang="en-US" sz="1000">
                <a:solidFill>
                  <a:srgbClr val="0070C0"/>
                </a:solidFill>
              </a:rPr>
              <a:t>Fibrosis improvement without worsening of NASH </a:t>
            </a:r>
            <a:r>
              <a:rPr lang="en-US" sz="1000"/>
              <a:t>(human read, % responders)</a:t>
            </a:r>
            <a:endParaRPr lang="en-US" sz="1000">
              <a:cs typeface="Arial"/>
            </a:endParaRPr>
          </a:p>
          <a:p>
            <a:pPr marL="182880" indent="-182880" defTabSz="913798">
              <a:spcBef>
                <a:spcPts val="200"/>
              </a:spcBef>
              <a:buFont typeface="Arial,Sans-Serif"/>
              <a:buChar char="•"/>
              <a:defRPr/>
            </a:pPr>
            <a:r>
              <a:rPr lang="en-US" sz="1000">
                <a:solidFill>
                  <a:srgbClr val="0070C0"/>
                </a:solidFill>
                <a:cs typeface="Arial"/>
              </a:rPr>
              <a:t>Fibrosis improvement in </a:t>
            </a:r>
            <a:r>
              <a:rPr lang="en-US" sz="1000" err="1">
                <a:solidFill>
                  <a:srgbClr val="0070C0"/>
                </a:solidFill>
                <a:cs typeface="Arial"/>
              </a:rPr>
              <a:t>PathAI</a:t>
            </a:r>
            <a:r>
              <a:rPr lang="en-US" sz="1000">
                <a:solidFill>
                  <a:srgbClr val="0070C0"/>
                </a:solidFill>
                <a:cs typeface="Arial"/>
              </a:rPr>
              <a:t> AIM-NASH CRN </a:t>
            </a:r>
            <a:r>
              <a:rPr lang="en-US" sz="1000">
                <a:cs typeface="Arial"/>
              </a:rPr>
              <a:t>(final score, % responders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D7C7EA5-22CA-2338-7F8C-70092ABA2D1E}"/>
              </a:ext>
            </a:extLst>
          </p:cNvPr>
          <p:cNvCxnSpPr>
            <a:cxnSpLocks/>
            <a:stCxn id="16" idx="2"/>
            <a:endCxn id="8" idx="0"/>
          </p:cNvCxnSpPr>
          <p:nvPr/>
        </p:nvCxnSpPr>
        <p:spPr>
          <a:xfrm>
            <a:off x="3267517" y="2593669"/>
            <a:ext cx="0" cy="345627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2D1AB2D5-1A84-4BFB-EF75-A11A9BF2B138}"/>
              </a:ext>
            </a:extLst>
          </p:cNvPr>
          <p:cNvSpPr/>
          <p:nvPr/>
        </p:nvSpPr>
        <p:spPr>
          <a:xfrm>
            <a:off x="2545622" y="1431968"/>
            <a:ext cx="1443789" cy="44986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latin typeface="Arial" panose="020B0604020202020204" pitchFamily="34" charset="0"/>
                <a:cs typeface="Arial" panose="020B0604020202020204" pitchFamily="34" charset="0"/>
              </a:rPr>
              <a:t>Consider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3DDBF01-A74F-A7DD-925B-4910DE785F80}"/>
              </a:ext>
            </a:extLst>
          </p:cNvPr>
          <p:cNvCxnSpPr>
            <a:cxnSpLocks/>
            <a:stCxn id="12" idx="4"/>
            <a:endCxn id="16" idx="0"/>
          </p:cNvCxnSpPr>
          <p:nvPr/>
        </p:nvCxnSpPr>
        <p:spPr>
          <a:xfrm>
            <a:off x="3267517" y="1881828"/>
            <a:ext cx="0" cy="261981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9EFBBEF-4BBC-629C-C5F6-5BF9E790B505}"/>
              </a:ext>
            </a:extLst>
          </p:cNvPr>
          <p:cNvCxnSpPr>
            <a:cxnSpLocks/>
            <a:stCxn id="8" idx="2"/>
            <a:endCxn id="8213" idx="0"/>
          </p:cNvCxnSpPr>
          <p:nvPr/>
        </p:nvCxnSpPr>
        <p:spPr>
          <a:xfrm flipH="1">
            <a:off x="3267516" y="3544590"/>
            <a:ext cx="1" cy="363358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654415D-593C-1CBA-3A27-FC76D747F1B2}"/>
              </a:ext>
            </a:extLst>
          </p:cNvPr>
          <p:cNvSpPr/>
          <p:nvPr/>
        </p:nvSpPr>
        <p:spPr>
          <a:xfrm>
            <a:off x="1207714" y="2143809"/>
            <a:ext cx="4119605" cy="449860"/>
          </a:xfrm>
          <a:prstGeom prst="roundRect">
            <a:avLst/>
          </a:prstGeom>
          <a:pattFill prst="pct20">
            <a:fgClr>
              <a:srgbClr val="FFC000"/>
            </a:fgClr>
            <a:bgClr>
              <a:schemeClr val="bg1"/>
            </a:bgClr>
          </a:pattFill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3798">
              <a:defRPr/>
            </a:pPr>
            <a:r>
              <a:rPr lang="en-US" sz="1200" b="1">
                <a:solidFill>
                  <a:schemeClr val="tx1"/>
                </a:solidFill>
              </a:rPr>
              <a:t>Triple vs SEMA (Confirmatory Evidence)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B2A1A6-EB85-8213-E029-E1F710F3C921}"/>
              </a:ext>
            </a:extLst>
          </p:cNvPr>
          <p:cNvSpPr txBox="1"/>
          <p:nvPr/>
        </p:nvSpPr>
        <p:spPr>
          <a:xfrm>
            <a:off x="6391848" y="2927573"/>
            <a:ext cx="4701852" cy="605294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3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tx1"/>
                </a:solidFill>
              </a:rPr>
              <a:t>Consistent change with at least one of the following with 1-sided p </a:t>
            </a:r>
            <a:r>
              <a:rPr lang="en-US" sz="1000" b="1"/>
              <a:t>≤ 0.05</a:t>
            </a:r>
            <a:r>
              <a:rPr lang="en-US" sz="1000" baseline="30000"/>
              <a:t>+</a:t>
            </a:r>
            <a:endParaRPr lang="en-US" sz="1000" b="1"/>
          </a:p>
          <a:p>
            <a:pPr marL="182880" marR="0" lvl="0" indent="-182880" algn="l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70C0"/>
                </a:solidFill>
              </a:rPr>
              <a:t>Fibrosis improvement in </a:t>
            </a:r>
            <a:r>
              <a:rPr lang="en-US" sz="1000" err="1">
                <a:solidFill>
                  <a:srgbClr val="0070C0"/>
                </a:solidFill>
              </a:rPr>
              <a:t>PathAI</a:t>
            </a:r>
            <a:r>
              <a:rPr lang="en-US" sz="1000">
                <a:solidFill>
                  <a:srgbClr val="0070C0"/>
                </a:solidFill>
              </a:rPr>
              <a:t> AIM-NASH CRN </a:t>
            </a:r>
            <a:r>
              <a:rPr lang="en-US" sz="1000">
                <a:solidFill>
                  <a:schemeClr val="tx1"/>
                </a:solidFill>
              </a:rPr>
              <a:t>(final score, % responders)</a:t>
            </a:r>
          </a:p>
          <a:p>
            <a:pPr marL="182880" marR="0" lvl="0" indent="-182880" algn="l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Tx/>
              <a:buFont typeface="Arial,Sans-Serif" panose="020B0604020202020204" pitchFamily="34" charset="0"/>
              <a:buChar char="•"/>
            </a:pPr>
            <a:r>
              <a:rPr lang="en-US" sz="1000" b="0" i="0" u="none" strike="noStrike" noProof="0" err="1">
                <a:solidFill>
                  <a:srgbClr val="0070C0"/>
                </a:solidFill>
                <a:latin typeface="+mn-lt"/>
              </a:rPr>
              <a:t>PathAI</a:t>
            </a:r>
            <a:r>
              <a:rPr lang="en-US" sz="1000" b="0" i="0" u="none" strike="noStrike" noProof="0">
                <a:solidFill>
                  <a:srgbClr val="0070C0"/>
                </a:solidFill>
                <a:latin typeface="+mn-lt"/>
              </a:rPr>
              <a:t> proportion of fibrosis area over tissue</a:t>
            </a:r>
            <a:endParaRPr lang="en-US" sz="10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40EF0C-C2C5-D4B9-524E-BE022100694D}"/>
              </a:ext>
            </a:extLst>
          </p:cNvPr>
          <p:cNvSpPr txBox="1"/>
          <p:nvPr/>
        </p:nvSpPr>
        <p:spPr>
          <a:xfrm>
            <a:off x="6391848" y="3949430"/>
            <a:ext cx="4701852" cy="1272143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000" b="1">
                <a:solidFill>
                  <a:schemeClr val="tx1"/>
                </a:solidFill>
              </a:rPr>
              <a:t>Consistent change with at least two of the followings with 1-sided p </a:t>
            </a:r>
            <a:r>
              <a:rPr lang="en-US" sz="1000" b="1"/>
              <a:t>≤ 0.05</a:t>
            </a:r>
            <a:r>
              <a:rPr lang="en-US" sz="1000" baseline="30000"/>
              <a:t>+</a:t>
            </a:r>
            <a:endParaRPr lang="en-US" sz="1000"/>
          </a:p>
          <a:p>
            <a:pPr marL="182880" marR="0" lvl="0" indent="-18288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70C0"/>
                </a:solidFill>
              </a:rPr>
              <a:t>ELF</a:t>
            </a:r>
            <a:r>
              <a:rPr lang="en-US" sz="1000">
                <a:solidFill>
                  <a:schemeClr val="tx1"/>
                </a:solidFill>
              </a:rPr>
              <a:t>: ≥ 0.5 reduction</a:t>
            </a:r>
            <a:r>
              <a:rPr lang="en-US" sz="1000" baseline="30000">
                <a:solidFill>
                  <a:schemeClr val="tx1"/>
                </a:solidFill>
              </a:rPr>
              <a:t>1 </a:t>
            </a:r>
            <a:r>
              <a:rPr lang="en-US" sz="1000">
                <a:solidFill>
                  <a:schemeClr val="tx1"/>
                </a:solidFill>
              </a:rPr>
              <a:t>(more patients with improvement in %)</a:t>
            </a:r>
            <a:r>
              <a:rPr lang="en-US" sz="1000"/>
              <a:t> or </a:t>
            </a:r>
            <a:r>
              <a:rPr lang="en-US" sz="1000">
                <a:solidFill>
                  <a:schemeClr val="tx1"/>
                </a:solidFill>
              </a:rPr>
              <a:t>≥ 0.5 increase</a:t>
            </a:r>
            <a:r>
              <a:rPr lang="en-US" sz="1000" baseline="30000">
                <a:solidFill>
                  <a:schemeClr val="tx1"/>
                </a:solidFill>
              </a:rPr>
              <a:t>1 </a:t>
            </a:r>
            <a:r>
              <a: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less patients with worsening in %) </a:t>
            </a:r>
          </a:p>
          <a:p>
            <a:pPr marL="182880" marR="0" lvl="0" indent="-18288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sz="1000" kern="120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FIB-4</a:t>
            </a:r>
            <a:r>
              <a: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≥ 15% relative reduction </a:t>
            </a:r>
            <a:r>
              <a:rPr lang="en-US" sz="1000">
                <a:solidFill>
                  <a:schemeClr val="tx1"/>
                </a:solidFill>
              </a:rPr>
              <a:t>(% responders)</a:t>
            </a:r>
            <a:endParaRPr lang="en-US" sz="1000"/>
          </a:p>
          <a:p>
            <a:pPr marL="182880" marR="0" lvl="0" indent="-18288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70C0"/>
                </a:solidFill>
              </a:rPr>
              <a:t>LS by </a:t>
            </a:r>
            <a:r>
              <a:rPr lang="en-US" sz="1000" err="1">
                <a:solidFill>
                  <a:srgbClr val="0070C0"/>
                </a:solidFill>
              </a:rPr>
              <a:t>FibroScan</a:t>
            </a:r>
            <a:r>
              <a:rPr lang="en-US" sz="1000">
                <a:solidFill>
                  <a:schemeClr val="tx1"/>
                </a:solidFill>
              </a:rPr>
              <a:t>: ≥ 5 kPa reduction</a:t>
            </a:r>
            <a:r>
              <a:rPr lang="en-US" sz="1000" baseline="30000">
                <a:solidFill>
                  <a:schemeClr val="tx1"/>
                </a:solidFill>
              </a:rPr>
              <a:t>2</a:t>
            </a:r>
            <a:r>
              <a:rPr lang="en-US" sz="1000">
                <a:solidFill>
                  <a:schemeClr val="tx1"/>
                </a:solidFill>
              </a:rPr>
              <a:t> (% responders) or</a:t>
            </a:r>
            <a:r>
              <a:rPr lang="en-US" sz="1000">
                <a:solidFill>
                  <a:schemeClr val="dk1"/>
                </a:solidFill>
              </a:rPr>
              <a:t> </a:t>
            </a:r>
            <a:r>
              <a:rPr lang="en-US" sz="1000">
                <a:solidFill>
                  <a:schemeClr val="tx1"/>
                </a:solidFill>
              </a:rPr>
              <a:t>≥ 20% relative reduction</a:t>
            </a:r>
            <a:r>
              <a:rPr lang="en-US" sz="1000" baseline="30000">
                <a:solidFill>
                  <a:schemeClr val="tx1"/>
                </a:solidFill>
              </a:rPr>
              <a:t>2</a:t>
            </a:r>
            <a:r>
              <a:rPr lang="en-US" sz="1000" baseline="0">
                <a:solidFill>
                  <a:schemeClr val="tx1"/>
                </a:solidFill>
              </a:rPr>
              <a:t> </a:t>
            </a:r>
            <a:r>
              <a:rPr lang="en-US" sz="1000">
                <a:solidFill>
                  <a:schemeClr val="tx1"/>
                </a:solidFill>
              </a:rPr>
              <a:t>(% responders)</a:t>
            </a:r>
            <a:endParaRPr lang="en-US" sz="1000"/>
          </a:p>
          <a:p>
            <a:pPr marL="182880" marR="0" lvl="0" indent="-182880" algn="l" defTabSz="913798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strike="noStrike" err="1">
                <a:solidFill>
                  <a:srgbClr val="0070C0"/>
                </a:solidFill>
              </a:rPr>
              <a:t>SomaSignal</a:t>
            </a:r>
            <a:r>
              <a:rPr lang="en-US" sz="1000" strike="noStrike">
                <a:solidFill>
                  <a:srgbClr val="0070C0"/>
                </a:solidFill>
              </a:rPr>
              <a:t> fibrosis test changes (CILO/FIR vs. Placebo) </a:t>
            </a:r>
            <a:r>
              <a:rPr lang="en-US" sz="1000" strike="noStrike" baseline="30000">
                <a:solidFill>
                  <a:schemeClr val="tx1"/>
                </a:solidFill>
              </a:rPr>
              <a:t>3, 4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44552F4-E47F-7C0F-702A-EA179FACB4B9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8742774" y="3532867"/>
            <a:ext cx="0" cy="416563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0B08D7D-345E-2C68-E0F9-C0581C7ECC00}"/>
              </a:ext>
            </a:extLst>
          </p:cNvPr>
          <p:cNvCxnSpPr>
            <a:cxnSpLocks/>
            <a:stCxn id="21" idx="2"/>
            <a:endCxn id="17" idx="0"/>
          </p:cNvCxnSpPr>
          <p:nvPr/>
        </p:nvCxnSpPr>
        <p:spPr>
          <a:xfrm>
            <a:off x="8742774" y="2583814"/>
            <a:ext cx="0" cy="343759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65CC661-CC86-5DCD-EF18-A170D8CB8A15}"/>
              </a:ext>
            </a:extLst>
          </p:cNvPr>
          <p:cNvSpPr/>
          <p:nvPr/>
        </p:nvSpPr>
        <p:spPr>
          <a:xfrm>
            <a:off x="6682971" y="2133954"/>
            <a:ext cx="4119605" cy="449860"/>
          </a:xfrm>
          <a:prstGeom prst="roundRect">
            <a:avLst/>
          </a:prstGeom>
          <a:pattFill prst="pct20">
            <a:fgClr>
              <a:srgbClr val="FFC000"/>
            </a:fgClr>
            <a:bgClr>
              <a:prstClr val="white"/>
            </a:bgClr>
          </a:pattFill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3798">
              <a:defRPr/>
            </a:pPr>
            <a:r>
              <a:rPr lang="en-US" sz="1200" b="1">
                <a:solidFill>
                  <a:schemeClr val="tx1"/>
                </a:solidFill>
                <a:latin typeface="Arial"/>
                <a:cs typeface="Arial"/>
              </a:rPr>
              <a:t>CILO/FIR vs PBO (Consistency)</a:t>
            </a:r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30D63CE-4B2E-180D-792D-B447998AD82B}"/>
              </a:ext>
            </a:extLst>
          </p:cNvPr>
          <p:cNvCxnSpPr>
            <a:cxnSpLocks/>
            <a:stCxn id="18" idx="2"/>
            <a:endCxn id="23" idx="0"/>
          </p:cNvCxnSpPr>
          <p:nvPr/>
        </p:nvCxnSpPr>
        <p:spPr>
          <a:xfrm flipH="1">
            <a:off x="8742772" y="5221573"/>
            <a:ext cx="2" cy="386285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1F8B8363-C91F-AA36-0933-3A905CAEC5CF}"/>
              </a:ext>
            </a:extLst>
          </p:cNvPr>
          <p:cNvSpPr/>
          <p:nvPr/>
        </p:nvSpPr>
        <p:spPr>
          <a:xfrm>
            <a:off x="8282777" y="5607858"/>
            <a:ext cx="919990" cy="44986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No-Go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4B144D7C-C43A-7A98-B529-ECF0988EB91A}"/>
              </a:ext>
            </a:extLst>
          </p:cNvPr>
          <p:cNvCxnSpPr>
            <a:cxnSpLocks/>
            <a:stCxn id="8" idx="3"/>
            <a:endCxn id="21" idx="1"/>
          </p:cNvCxnSpPr>
          <p:nvPr/>
        </p:nvCxnSpPr>
        <p:spPr>
          <a:xfrm flipV="1">
            <a:off x="5800150" y="2358884"/>
            <a:ext cx="882821" cy="883059"/>
          </a:xfrm>
          <a:prstGeom prst="bentConnector3">
            <a:avLst>
              <a:gd name="adj1" fmla="val 50000"/>
            </a:avLst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3" name="Straight Arrow Connector 8202">
            <a:extLst>
              <a:ext uri="{FF2B5EF4-FFF2-40B4-BE49-F238E27FC236}">
                <a16:creationId xmlns:a16="http://schemas.microsoft.com/office/drawing/2014/main" id="{88C7967F-7361-1982-DB86-D0DDC250F709}"/>
              </a:ext>
            </a:extLst>
          </p:cNvPr>
          <p:cNvCxnSpPr>
            <a:cxnSpLocks/>
            <a:stCxn id="17" idx="3"/>
            <a:endCxn id="8210" idx="0"/>
          </p:cNvCxnSpPr>
          <p:nvPr/>
        </p:nvCxnSpPr>
        <p:spPr>
          <a:xfrm>
            <a:off x="11093700" y="3230220"/>
            <a:ext cx="541749" cy="550576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4" name="Straight Arrow Connector 8203">
            <a:extLst>
              <a:ext uri="{FF2B5EF4-FFF2-40B4-BE49-F238E27FC236}">
                <a16:creationId xmlns:a16="http://schemas.microsoft.com/office/drawing/2014/main" id="{44C33BE3-51CB-989D-6D09-90B3AA12AFDF}"/>
              </a:ext>
            </a:extLst>
          </p:cNvPr>
          <p:cNvCxnSpPr>
            <a:cxnSpLocks/>
            <a:stCxn id="18" idx="3"/>
            <a:endCxn id="8210" idx="4"/>
          </p:cNvCxnSpPr>
          <p:nvPr/>
        </p:nvCxnSpPr>
        <p:spPr>
          <a:xfrm flipV="1">
            <a:off x="11093700" y="4230656"/>
            <a:ext cx="541749" cy="354846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0" name="Oval 8209">
            <a:extLst>
              <a:ext uri="{FF2B5EF4-FFF2-40B4-BE49-F238E27FC236}">
                <a16:creationId xmlns:a16="http://schemas.microsoft.com/office/drawing/2014/main" id="{80DFB7F1-1A39-CE68-6033-09C89D40EAA9}"/>
              </a:ext>
            </a:extLst>
          </p:cNvPr>
          <p:cNvSpPr/>
          <p:nvPr/>
        </p:nvSpPr>
        <p:spPr>
          <a:xfrm>
            <a:off x="11134936" y="3780796"/>
            <a:ext cx="1001026" cy="4498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o</a:t>
            </a:r>
          </a:p>
        </p:txBody>
      </p:sp>
      <p:sp>
        <p:nvSpPr>
          <p:cNvPr id="8213" name="Oval 8212">
            <a:extLst>
              <a:ext uri="{FF2B5EF4-FFF2-40B4-BE49-F238E27FC236}">
                <a16:creationId xmlns:a16="http://schemas.microsoft.com/office/drawing/2014/main" id="{A9B01587-39AD-BE3E-C194-BEAA4416EAD7}"/>
              </a:ext>
            </a:extLst>
          </p:cNvPr>
          <p:cNvSpPr/>
          <p:nvPr/>
        </p:nvSpPr>
        <p:spPr>
          <a:xfrm>
            <a:off x="2767003" y="3907948"/>
            <a:ext cx="1001026" cy="4498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Go</a:t>
            </a:r>
          </a:p>
        </p:txBody>
      </p:sp>
      <p:sp>
        <p:nvSpPr>
          <p:cNvPr id="8239" name="TextBox 8238">
            <a:extLst>
              <a:ext uri="{FF2B5EF4-FFF2-40B4-BE49-F238E27FC236}">
                <a16:creationId xmlns:a16="http://schemas.microsoft.com/office/drawing/2014/main" id="{CA82C06E-5098-680D-211B-FBCEBF597426}"/>
              </a:ext>
            </a:extLst>
          </p:cNvPr>
          <p:cNvSpPr txBox="1"/>
          <p:nvPr/>
        </p:nvSpPr>
        <p:spPr>
          <a:xfrm>
            <a:off x="3290662" y="3643996"/>
            <a:ext cx="4542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Yes</a:t>
            </a:r>
          </a:p>
        </p:txBody>
      </p:sp>
      <p:sp>
        <p:nvSpPr>
          <p:cNvPr id="8241" name="TextBox 8240">
            <a:extLst>
              <a:ext uri="{FF2B5EF4-FFF2-40B4-BE49-F238E27FC236}">
                <a16:creationId xmlns:a16="http://schemas.microsoft.com/office/drawing/2014/main" id="{D640A2A0-C79E-7889-5FFA-E77B5872B3EC}"/>
              </a:ext>
            </a:extLst>
          </p:cNvPr>
          <p:cNvSpPr txBox="1"/>
          <p:nvPr/>
        </p:nvSpPr>
        <p:spPr>
          <a:xfrm>
            <a:off x="11274230" y="3318870"/>
            <a:ext cx="4542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Yes</a:t>
            </a:r>
          </a:p>
        </p:txBody>
      </p:sp>
      <p:sp>
        <p:nvSpPr>
          <p:cNvPr id="8242" name="TextBox 8241">
            <a:extLst>
              <a:ext uri="{FF2B5EF4-FFF2-40B4-BE49-F238E27FC236}">
                <a16:creationId xmlns:a16="http://schemas.microsoft.com/office/drawing/2014/main" id="{0A599A9C-996A-C1CB-CEF1-6F42FC70C5C0}"/>
              </a:ext>
            </a:extLst>
          </p:cNvPr>
          <p:cNvSpPr txBox="1"/>
          <p:nvPr/>
        </p:nvSpPr>
        <p:spPr>
          <a:xfrm>
            <a:off x="11274230" y="4482822"/>
            <a:ext cx="4542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Yes</a:t>
            </a:r>
          </a:p>
        </p:txBody>
      </p:sp>
      <p:sp>
        <p:nvSpPr>
          <p:cNvPr id="8247" name="TextBox 8246">
            <a:extLst>
              <a:ext uri="{FF2B5EF4-FFF2-40B4-BE49-F238E27FC236}">
                <a16:creationId xmlns:a16="http://schemas.microsoft.com/office/drawing/2014/main" id="{30A9FEA9-9FA4-491C-82A1-EE7AA938D6A7}"/>
              </a:ext>
            </a:extLst>
          </p:cNvPr>
          <p:cNvSpPr txBox="1"/>
          <p:nvPr/>
        </p:nvSpPr>
        <p:spPr>
          <a:xfrm>
            <a:off x="8742772" y="3649007"/>
            <a:ext cx="3680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No</a:t>
            </a:r>
          </a:p>
        </p:txBody>
      </p:sp>
      <p:sp>
        <p:nvSpPr>
          <p:cNvPr id="8248" name="TextBox 8247">
            <a:extLst>
              <a:ext uri="{FF2B5EF4-FFF2-40B4-BE49-F238E27FC236}">
                <a16:creationId xmlns:a16="http://schemas.microsoft.com/office/drawing/2014/main" id="{C1967561-F47C-80B1-902D-856A74449EDE}"/>
              </a:ext>
            </a:extLst>
          </p:cNvPr>
          <p:cNvSpPr txBox="1"/>
          <p:nvPr/>
        </p:nvSpPr>
        <p:spPr>
          <a:xfrm>
            <a:off x="5792512" y="3297847"/>
            <a:ext cx="3680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No</a:t>
            </a:r>
          </a:p>
        </p:txBody>
      </p:sp>
      <p:sp>
        <p:nvSpPr>
          <p:cNvPr id="8254" name="TextBox 8253">
            <a:extLst>
              <a:ext uri="{FF2B5EF4-FFF2-40B4-BE49-F238E27FC236}">
                <a16:creationId xmlns:a16="http://schemas.microsoft.com/office/drawing/2014/main" id="{5CE5A77E-F7C4-8CBD-D040-161778A3E2AF}"/>
              </a:ext>
            </a:extLst>
          </p:cNvPr>
          <p:cNvSpPr txBox="1"/>
          <p:nvPr/>
        </p:nvSpPr>
        <p:spPr>
          <a:xfrm>
            <a:off x="8742772" y="5291605"/>
            <a:ext cx="3680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N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B96CCB-C26D-C7F6-A698-34F8610FCC72}"/>
              </a:ext>
            </a:extLst>
          </p:cNvPr>
          <p:cNvSpPr txBox="1"/>
          <p:nvPr/>
        </p:nvSpPr>
        <p:spPr>
          <a:xfrm>
            <a:off x="734884" y="4822098"/>
            <a:ext cx="4597715" cy="1131079"/>
          </a:xfrm>
          <a:prstGeom prst="rect">
            <a:avLst/>
          </a:prstGeom>
          <a:noFill/>
          <a:ln w="19050">
            <a:solidFill>
              <a:srgbClr val="4472C4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defTabSz="913798">
              <a:defRPr/>
            </a:pPr>
            <a:r>
              <a:rPr lang="en-US" sz="1000" b="1">
                <a:cs typeface="Arial"/>
              </a:rPr>
              <a:t>Guide</a:t>
            </a:r>
            <a:endParaRPr lang="en-US" sz="1000" baseline="30000">
              <a:cs typeface="Arial"/>
            </a:endParaRPr>
          </a:p>
          <a:p>
            <a:pPr marL="182880" indent="-18288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000"/>
              <a:t>Triple vs SEMA biopsy analysis provides independent confirmation of the benefit of CILO/FIR, making it the strongest level of supporting evidence</a:t>
            </a:r>
            <a:endParaRPr lang="en-US" sz="1000">
              <a:cs typeface="Arial"/>
            </a:endParaRPr>
          </a:p>
          <a:p>
            <a:pPr marL="182880" indent="-18288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Enhanced precision of </a:t>
            </a:r>
            <a:r>
              <a:rPr lang="en-US" sz="1000" err="1">
                <a:cs typeface="Arial"/>
              </a:rPr>
              <a:t>PathAI</a:t>
            </a:r>
            <a:r>
              <a:rPr lang="en-US" sz="1000">
                <a:cs typeface="Arial"/>
              </a:rPr>
              <a:t> in CILO/FIR vs PBO may overcome issues related to assessment noise and loss of power</a:t>
            </a:r>
          </a:p>
          <a:p>
            <a:pPr marL="182880" indent="-18288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Combination NIT assessment provides orthogonal support of biopsy result</a:t>
            </a:r>
          </a:p>
        </p:txBody>
      </p:sp>
    </p:spTree>
    <p:extLst>
      <p:ext uri="{BB962C8B-B14F-4D97-AF65-F5344CB8AC3E}">
        <p14:creationId xmlns:p14="http://schemas.microsoft.com/office/powerpoint/2010/main" val="18323650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9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9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9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30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30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30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30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Q9DbfLjuZCjrTLWrwD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Y8Mf7qZqwtQU5T.V.D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9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9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9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9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296"/>
</p:tagLst>
</file>

<file path=ppt/theme/theme1.xml><?xml version="1.0" encoding="utf-8"?>
<a:theme xmlns:a="http://schemas.openxmlformats.org/drawingml/2006/main" name="IR Template">
  <a:themeElements>
    <a:clrScheme name="Custom 2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C50E3C"/>
      </a:accent1>
      <a:accent2>
        <a:srgbClr val="3C587F"/>
      </a:accent2>
      <a:accent3>
        <a:srgbClr val="8DC1C5"/>
      </a:accent3>
      <a:accent4>
        <a:srgbClr val="688C38"/>
      </a:accent4>
      <a:accent5>
        <a:srgbClr val="000000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ileadTheme1">
  <a:themeElements>
    <a:clrScheme name="Custom 1">
      <a:dk1>
        <a:srgbClr val="000000"/>
      </a:dk1>
      <a:lt1>
        <a:srgbClr val="FFFFFF"/>
      </a:lt1>
      <a:dk2>
        <a:srgbClr val="D11241"/>
      </a:dk2>
      <a:lt2>
        <a:srgbClr val="E7E6E6"/>
      </a:lt2>
      <a:accent1>
        <a:srgbClr val="D11241"/>
      </a:accent1>
      <a:accent2>
        <a:srgbClr val="0000CC"/>
      </a:accent2>
      <a:accent3>
        <a:srgbClr val="0064A8"/>
      </a:accent3>
      <a:accent4>
        <a:srgbClr val="8DC1C5"/>
      </a:accent4>
      <a:accent5>
        <a:srgbClr val="688C38"/>
      </a:accent5>
      <a:accent6>
        <a:srgbClr val="3C587F"/>
      </a:accent6>
      <a:hlink>
        <a:srgbClr val="D11241"/>
      </a:hlink>
      <a:folHlink>
        <a:srgbClr val="5F5F5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" id="{FF3725F3-DB99-47E8-BC2D-18BF0DBA8355}" vid="{9E6FA57F-FD98-469E-AAAD-76B0F266942D}"/>
    </a:ext>
  </a:extLst>
</a:theme>
</file>

<file path=ppt/theme/theme3.xml><?xml version="1.0" encoding="utf-8"?>
<a:theme xmlns:a="http://schemas.openxmlformats.org/drawingml/2006/main" name="1_GileadTheme1">
  <a:themeElements>
    <a:clrScheme name="Custom 1">
      <a:dk1>
        <a:srgbClr val="000000"/>
      </a:dk1>
      <a:lt1>
        <a:srgbClr val="FFFFFF"/>
      </a:lt1>
      <a:dk2>
        <a:srgbClr val="D11241"/>
      </a:dk2>
      <a:lt2>
        <a:srgbClr val="E7E6E6"/>
      </a:lt2>
      <a:accent1>
        <a:srgbClr val="D11241"/>
      </a:accent1>
      <a:accent2>
        <a:srgbClr val="0000CC"/>
      </a:accent2>
      <a:accent3>
        <a:srgbClr val="0064A8"/>
      </a:accent3>
      <a:accent4>
        <a:srgbClr val="8DC1C5"/>
      </a:accent4>
      <a:accent5>
        <a:srgbClr val="688C38"/>
      </a:accent5>
      <a:accent6>
        <a:srgbClr val="3C587F"/>
      </a:accent6>
      <a:hlink>
        <a:srgbClr val="D11241"/>
      </a:hlink>
      <a:folHlink>
        <a:srgbClr val="5F5F5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" id="{FF3725F3-DB99-47E8-BC2D-18BF0DBA8355}" vid="{9E6FA57F-FD98-469E-AAAD-76B0F266942D}"/>
    </a:ext>
  </a:extLst>
</a:theme>
</file>

<file path=ppt/theme/theme4.xml><?xml version="1.0" encoding="utf-8"?>
<a:theme xmlns:a="http://schemas.openxmlformats.org/drawingml/2006/main" name="2_GileadTheme1">
  <a:themeElements>
    <a:clrScheme name="Custom 1">
      <a:dk1>
        <a:srgbClr val="000000"/>
      </a:dk1>
      <a:lt1>
        <a:srgbClr val="FFFFFF"/>
      </a:lt1>
      <a:dk2>
        <a:srgbClr val="D11241"/>
      </a:dk2>
      <a:lt2>
        <a:srgbClr val="E7E6E6"/>
      </a:lt2>
      <a:accent1>
        <a:srgbClr val="D11241"/>
      </a:accent1>
      <a:accent2>
        <a:srgbClr val="0000CC"/>
      </a:accent2>
      <a:accent3>
        <a:srgbClr val="0064A8"/>
      </a:accent3>
      <a:accent4>
        <a:srgbClr val="8DC1C5"/>
      </a:accent4>
      <a:accent5>
        <a:srgbClr val="688C38"/>
      </a:accent5>
      <a:accent6>
        <a:srgbClr val="3C587F"/>
      </a:accent6>
      <a:hlink>
        <a:srgbClr val="D11241"/>
      </a:hlink>
      <a:folHlink>
        <a:srgbClr val="5F5F5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8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ileadTheme1" id="{A92E9EFC-61DD-406B-8442-3E98D23D69DD}" vid="{7438F03A-BAEB-499E-B98A-5033D0CE4BBA}"/>
    </a:ext>
  </a:extLst>
</a:theme>
</file>

<file path=ppt/theme/theme5.xml><?xml version="1.0" encoding="utf-8"?>
<a:theme xmlns:a="http://schemas.openxmlformats.org/drawingml/2006/main" name="Intro and Divider Slides">
  <a:themeElements>
    <a:clrScheme name="Custom 1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3A6C8A"/>
      </a:accent1>
      <a:accent2>
        <a:srgbClr val="AEB618"/>
      </a:accent2>
      <a:accent3>
        <a:srgbClr val="F37B7D"/>
      </a:accent3>
      <a:accent4>
        <a:srgbClr val="9DB6C3"/>
      </a:accent4>
      <a:accent5>
        <a:srgbClr val="D7DB8C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51e619b-352f-4013-a66e-eb67185da38f">
      <UserInfo>
        <DisplayName>Brendan Thorne</DisplayName>
        <AccountId>711</AccountId>
        <AccountType/>
      </UserInfo>
      <UserInfo>
        <DisplayName>Rick McGirt</DisplayName>
        <AccountId>530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68C6EA8710AD4DA37EEC92F3E9371D" ma:contentTypeVersion="9" ma:contentTypeDescription="Create a new document." ma:contentTypeScope="" ma:versionID="7a5463962b4217477d18ea87687b40c6">
  <xsd:schema xmlns:xsd="http://www.w3.org/2001/XMLSchema" xmlns:xs="http://www.w3.org/2001/XMLSchema" xmlns:p="http://schemas.microsoft.com/office/2006/metadata/properties" xmlns:ns2="151e619b-352f-4013-a66e-eb67185da38f" xmlns:ns3="e594df1a-7596-466d-b038-41514d09772f" targetNamespace="http://schemas.microsoft.com/office/2006/metadata/properties" ma:root="true" ma:fieldsID="8a2d63e37f550243ecada9f912e9b019" ns2:_="" ns3:_="">
    <xsd:import namespace="151e619b-352f-4013-a66e-eb67185da38f"/>
    <xsd:import namespace="e594df1a-7596-466d-b038-41514d09772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1e619b-352f-4013-a66e-eb67185da38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94df1a-7596-466d-b038-41514d0977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B661DC3-FA37-4844-9EF3-29915253DD2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3EA792-2B25-4630-9A46-AB0FB24D86C4}">
  <ds:schemaRefs>
    <ds:schemaRef ds:uri="151e619b-352f-4013-a66e-eb67185da38f"/>
    <ds:schemaRef ds:uri="e594df1a-7596-466d-b038-41514d09772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D1C5100-9899-466F-B5D3-0399EA1F6128}">
  <ds:schemaRefs>
    <ds:schemaRef ds:uri="151e619b-352f-4013-a66e-eb67185da38f"/>
    <ds:schemaRef ds:uri="e594df1a-7596-466d-b038-41514d09772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92</Words>
  <Application>Microsoft Office PowerPoint</Application>
  <PresentationFormat>Widescreen</PresentationFormat>
  <Paragraphs>682</Paragraphs>
  <Slides>22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8" baseType="lpstr">
      <vt:lpstr>Apple Symbols</vt:lpstr>
      <vt:lpstr>Arial,Sans-Serif</vt:lpstr>
      <vt:lpstr>Proxima Nova Regular</vt:lpstr>
      <vt:lpstr>Arial</vt:lpstr>
      <vt:lpstr>Arial Black</vt:lpstr>
      <vt:lpstr>Arial Narrow</vt:lpstr>
      <vt:lpstr>Calibri</vt:lpstr>
      <vt:lpstr>Georgia</vt:lpstr>
      <vt:lpstr>Trebuchet MS</vt:lpstr>
      <vt:lpstr>Wingdings</vt:lpstr>
      <vt:lpstr>IR Template</vt:lpstr>
      <vt:lpstr>GileadTheme1</vt:lpstr>
      <vt:lpstr>1_GileadTheme1</vt:lpstr>
      <vt:lpstr>2_GileadTheme1</vt:lpstr>
      <vt:lpstr>Intro and Divider Slides</vt:lpstr>
      <vt:lpstr>think-cell Slide</vt:lpstr>
      <vt:lpstr>Fibrosis Improvement – Reported Results and NRI Analyses</vt:lpstr>
      <vt:lpstr>Cirrhosis regression following effective therapy on average takes &gt; 1 year</vt:lpstr>
      <vt:lpstr>PowerPoint Presentation</vt:lpstr>
      <vt:lpstr>Level 1 Go/No-Go Criteria (Same Procedure for Triple vs PBO and CILO/FIR vs PBO)</vt:lpstr>
      <vt:lpstr>Ph2b Power for Fibrosis Improvement</vt:lpstr>
      <vt:lpstr>3-Zone Decision Framework</vt:lpstr>
      <vt:lpstr>3-Zone Decision Method – Fibrosis Improvement w/o worsening of NASH </vt:lpstr>
      <vt:lpstr>Level 2 Go/No-Go Criteria (Procedure for Triple vs PBO)</vt:lpstr>
      <vt:lpstr>Level 2 Go/No-Go Criteria (Procedure for CILO/FIR vs PBO)</vt:lpstr>
      <vt:lpstr>Supporting Slides: Treatment Effect Size</vt:lpstr>
      <vt:lpstr>WAYFIND 454-6075 Assumptions Regarding Histologic Responses</vt:lpstr>
      <vt:lpstr>FIR+CILO (N=78) data from ATLAS Study (1/2)</vt:lpstr>
      <vt:lpstr>FIR+CILO (N=78) data from ATLAS Study (2/2)</vt:lpstr>
      <vt:lpstr>Supporting Slides: Go/No-Go Criteria</vt:lpstr>
      <vt:lpstr>3-Zone Decision Method – Fibrosis Improvement w/o worsening of NASH </vt:lpstr>
      <vt:lpstr>3-Zone Decision Method – Fibrosis Improvement w/o worsening of NASH </vt:lpstr>
      <vt:lpstr>3-Zone Decision Method – Fibrosis Improvement w/o worsening of NASH </vt:lpstr>
      <vt:lpstr>Phase 2b Study Design – Testing Strategy</vt:lpstr>
      <vt:lpstr>Supporting Slides: WAYFIND Biomarker Data</vt:lpstr>
      <vt:lpstr>Estimating placebo rate of NIT analyses</vt:lpstr>
      <vt:lpstr>Changes in SomaSignal Fibrosis Test Supported Consistency of Histological Response in ATLAS Study</vt:lpstr>
      <vt:lpstr>Changes in SomaSignal Fibrosis Test Associated with Anti-fibrotic Efficacy from External Clinical Tri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an Lavigne</dc:creator>
  <cp:lastModifiedBy>Xiaomin Lu</cp:lastModifiedBy>
  <cp:revision>2</cp:revision>
  <cp:lastPrinted>2023-10-10T15:30:55Z</cp:lastPrinted>
  <dcterms:created xsi:type="dcterms:W3CDTF">2018-05-31T15:44:29Z</dcterms:created>
  <dcterms:modified xsi:type="dcterms:W3CDTF">2024-07-29T19:4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68C6EA8710AD4DA37EEC92F3E9371D</vt:lpwstr>
  </property>
  <property fmtid="{D5CDD505-2E9C-101B-9397-08002B2CF9AE}" pid="3" name="MSIP_Label_16de74a9-4f8a-4c74-b507-22417e17d25b_Method">
    <vt:lpwstr>Privileged</vt:lpwstr>
  </property>
  <property fmtid="{D5CDD505-2E9C-101B-9397-08002B2CF9AE}" pid="4" name="MSIP_Label_16de74a9-4f8a-4c74-b507-22417e17d25b_ContentBits">
    <vt:lpwstr>0</vt:lpwstr>
  </property>
  <property fmtid="{D5CDD505-2E9C-101B-9397-08002B2CF9AE}" pid="5" name="MSIP_Label_16de74a9-4f8a-4c74-b507-22417e17d25b_SetDate">
    <vt:lpwstr>2023-08-07T23:00:20Z</vt:lpwstr>
  </property>
  <property fmtid="{D5CDD505-2E9C-101B-9397-08002B2CF9AE}" pid="6" name="MSIP_Label_16de74a9-4f8a-4c74-b507-22417e17d25b_ActionId">
    <vt:lpwstr>0110fa2f-69a8-4caa-a0a4-9bd7d0378b6c</vt:lpwstr>
  </property>
  <property fmtid="{D5CDD505-2E9C-101B-9397-08002B2CF9AE}" pid="7" name="MSIP_Label_16de74a9-4f8a-4c74-b507-22417e17d25b_Enabled">
    <vt:lpwstr>true</vt:lpwstr>
  </property>
  <property fmtid="{D5CDD505-2E9C-101B-9397-08002B2CF9AE}" pid="8" name="MSIP_Label_16de74a9-4f8a-4c74-b507-22417e17d25b_SiteId">
    <vt:lpwstr>a5a8bcaa-3292-41e6-b735-5e8b21f4dbfd</vt:lpwstr>
  </property>
  <property fmtid="{D5CDD505-2E9C-101B-9397-08002B2CF9AE}" pid="9" name="MSIP_Label_16de74a9-4f8a-4c74-b507-22417e17d25b_Name">
    <vt:lpwstr>16de74a9-4f8a-4c74-b507-22417e17d25b</vt:lpwstr>
  </property>
</Properties>
</file>